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7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9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05" r:id="rId5"/>
    <p:sldMasterId id="2147483690" r:id="rId6"/>
    <p:sldMasterId id="2147483682" r:id="rId7"/>
    <p:sldMasterId id="2147483674" r:id="rId8"/>
    <p:sldMasterId id="2147483698" r:id="rId9"/>
    <p:sldMasterId id="2147483755" r:id="rId10"/>
    <p:sldMasterId id="2147483805" r:id="rId11"/>
    <p:sldMasterId id="2147483831" r:id="rId12"/>
  </p:sldMasterIdLst>
  <p:notesMasterIdLst>
    <p:notesMasterId r:id="rId19"/>
  </p:notesMasterIdLst>
  <p:handoutMasterIdLst>
    <p:handoutMasterId r:id="rId20"/>
  </p:handoutMasterIdLst>
  <p:sldIdLst>
    <p:sldId id="2152" r:id="rId13"/>
    <p:sldId id="2217" r:id="rId14"/>
    <p:sldId id="4157" r:id="rId15"/>
    <p:sldId id="4154" r:id="rId16"/>
    <p:sldId id="4158" r:id="rId17"/>
    <p:sldId id="2146" r:id="rId18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BF810FEE-99B5-432C-960F-537E8C411707}">
          <p14:sldIdLst>
            <p14:sldId id="2152"/>
          </p14:sldIdLst>
        </p14:section>
        <p14:section name="Agenda" id="{717F7F33-246B-437D-822C-C15477E2A4CE}">
          <p14:sldIdLst>
            <p14:sldId id="2217"/>
          </p14:sldIdLst>
        </p14:section>
        <p14:section name="Questionnaire" id="{F1747829-E38C-4704-8054-12F520D0F197}">
          <p14:sldIdLst>
            <p14:sldId id="4157"/>
          </p14:sldIdLst>
        </p14:section>
        <p14:section name="DBP &amp; P-L" id="{6469B677-5F84-434A-92B9-C15A1668CB21}">
          <p14:sldIdLst>
            <p14:sldId id="4154"/>
            <p14:sldId id="4158"/>
          </p14:sldIdLst>
        </p14:section>
        <p14:section name="Untitled Section" id="{6514CA5E-1FF2-42E7-AEC0-0F49EE79C284}">
          <p14:sldIdLst>
            <p14:sldId id="214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36" userDrawn="1">
          <p15:clr>
            <a:srgbClr val="A4A3A4"/>
          </p15:clr>
        </p15:guide>
        <p15:guide id="2" pos="278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ez Davila, Luis" initials="MDL" lastIdx="1" clrIdx="0">
    <p:extLst>
      <p:ext uri="{19B8F6BF-5375-455C-9EA6-DF929625EA0E}">
        <p15:presenceInfo xmlns:p15="http://schemas.microsoft.com/office/powerpoint/2012/main" userId="S-1-5-21-3555285318-3598121220-927574299-1085900" providerId="AD"/>
      </p:ext>
    </p:extLst>
  </p:cmAuthor>
  <p:cmAuthor id="2" name="Nareshkumar Chandrahasan Senthilkumar" initials="NCS" lastIdx="14" clrIdx="1">
    <p:extLst>
      <p:ext uri="{19B8F6BF-5375-455C-9EA6-DF929625EA0E}">
        <p15:presenceInfo xmlns:p15="http://schemas.microsoft.com/office/powerpoint/2012/main" userId="S-1-5-21-2393973392-930299080-4041974831-52681" providerId="AD"/>
      </p:ext>
    </p:extLst>
  </p:cmAuthor>
  <p:cmAuthor id="3" name="Shivani Sai Vasavi Surisetty" initials="SSVS" lastIdx="3" clrIdx="2">
    <p:extLst>
      <p:ext uri="{19B8F6BF-5375-455C-9EA6-DF929625EA0E}">
        <p15:presenceInfo xmlns:p15="http://schemas.microsoft.com/office/powerpoint/2012/main" userId="S-1-5-21-2393973392-930299080-4041974831-34479" providerId="AD"/>
      </p:ext>
    </p:extLst>
  </p:cmAuthor>
  <p:cmAuthor id="4" name="Asha Radhakrishnan Nair" initials="ARN" lastIdx="52" clrIdx="3">
    <p:extLst>
      <p:ext uri="{19B8F6BF-5375-455C-9EA6-DF929625EA0E}">
        <p15:presenceInfo xmlns:p15="http://schemas.microsoft.com/office/powerpoint/2012/main" userId="Asha Radhakrishnan Nair" providerId="None"/>
      </p:ext>
    </p:extLst>
  </p:cmAuthor>
  <p:cmAuthor id="5" name="Adithya A" initials="AA" lastIdx="6" clrIdx="4">
    <p:extLst>
      <p:ext uri="{19B8F6BF-5375-455C-9EA6-DF929625EA0E}">
        <p15:presenceInfo xmlns:p15="http://schemas.microsoft.com/office/powerpoint/2012/main" userId="S-1-5-21-2393973392-930299080-4041974831-355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A311"/>
    <a:srgbClr val="70B7E7"/>
    <a:srgbClr val="ADC11C"/>
    <a:srgbClr val="D9202C"/>
    <a:srgbClr val="00B050"/>
    <a:srgbClr val="92D050"/>
    <a:srgbClr val="99FF66"/>
    <a:srgbClr val="93FB9F"/>
    <a:srgbClr val="66FF33"/>
    <a:srgbClr val="19B8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55B3A8-0C10-46F7-890F-ACC9AE80DC97}" v="3674" dt="2019-11-25T14:29:25.456"/>
    <p1510:client id="{92A42A73-64BD-4FDC-9CA5-1D07968351A1}" v="447" dt="2019-11-25T15:11:49.5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800" y="60"/>
      </p:cViewPr>
      <p:guideLst>
        <p:guide orient="horz" pos="636"/>
        <p:guide pos="27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epak NC" userId="3cb0fa79-5b7e-4ca9-b52a-86efcf769e47" providerId="ADAL" clId="{92A42A73-64BD-4FDC-9CA5-1D07968351A1}"/>
    <pc:docChg chg="undo custSel delSld modSld sldOrd modSection">
      <pc:chgData name="Deepak NC" userId="3cb0fa79-5b7e-4ca9-b52a-86efcf769e47" providerId="ADAL" clId="{92A42A73-64BD-4FDC-9CA5-1D07968351A1}" dt="2019-11-25T15:11:49.559" v="685"/>
      <pc:docMkLst>
        <pc:docMk/>
      </pc:docMkLst>
      <pc:sldChg chg="ord">
        <pc:chgData name="Deepak NC" userId="3cb0fa79-5b7e-4ca9-b52a-86efcf769e47" providerId="ADAL" clId="{92A42A73-64BD-4FDC-9CA5-1D07968351A1}" dt="2019-11-25T15:11:49.559" v="685"/>
        <pc:sldMkLst>
          <pc:docMk/>
          <pc:sldMk cId="1536301184" sldId="2217"/>
        </pc:sldMkLst>
      </pc:sldChg>
      <pc:sldChg chg="del">
        <pc:chgData name="Deepak NC" userId="3cb0fa79-5b7e-4ca9-b52a-86efcf769e47" providerId="ADAL" clId="{92A42A73-64BD-4FDC-9CA5-1D07968351A1}" dt="2019-11-25T13:30:27.695" v="431" actId="2696"/>
        <pc:sldMkLst>
          <pc:docMk/>
          <pc:sldMk cId="2958657880" sldId="3012"/>
        </pc:sldMkLst>
      </pc:sldChg>
      <pc:sldChg chg="addSp delSp modSp">
        <pc:chgData name="Deepak NC" userId="3cb0fa79-5b7e-4ca9-b52a-86efcf769e47" providerId="ADAL" clId="{92A42A73-64BD-4FDC-9CA5-1D07968351A1}" dt="2019-11-25T15:07:13.472" v="627" actId="20577"/>
        <pc:sldMkLst>
          <pc:docMk/>
          <pc:sldMk cId="4086436799" sldId="4154"/>
        </pc:sldMkLst>
        <pc:spChg chg="mod">
          <ac:chgData name="Deepak NC" userId="3cb0fa79-5b7e-4ca9-b52a-86efcf769e47" providerId="ADAL" clId="{92A42A73-64BD-4FDC-9CA5-1D07968351A1}" dt="2019-11-25T13:23:38.858" v="316" actId="20577"/>
          <ac:spMkLst>
            <pc:docMk/>
            <pc:sldMk cId="4086436799" sldId="4154"/>
            <ac:spMk id="2" creationId="{5811E7C8-B484-4514-A802-B2BF32375F89}"/>
          </ac:spMkLst>
        </pc:spChg>
        <pc:spChg chg="add del mod">
          <ac:chgData name="Deepak NC" userId="3cb0fa79-5b7e-4ca9-b52a-86efcf769e47" providerId="ADAL" clId="{92A42A73-64BD-4FDC-9CA5-1D07968351A1}" dt="2019-11-25T13:15:51.911" v="118" actId="1076"/>
          <ac:spMkLst>
            <pc:docMk/>
            <pc:sldMk cId="4086436799" sldId="4154"/>
            <ac:spMk id="4" creationId="{5AD62109-0513-4ED5-99C1-756EFD7433B3}"/>
          </ac:spMkLst>
        </pc:spChg>
        <pc:spChg chg="del">
          <ac:chgData name="Deepak NC" userId="3cb0fa79-5b7e-4ca9-b52a-86efcf769e47" providerId="ADAL" clId="{92A42A73-64BD-4FDC-9CA5-1D07968351A1}" dt="2019-11-25T12:47:29.548" v="53" actId="478"/>
          <ac:spMkLst>
            <pc:docMk/>
            <pc:sldMk cId="4086436799" sldId="4154"/>
            <ac:spMk id="5" creationId="{4E1AED6C-A593-4386-83F6-E8F89311F0E2}"/>
          </ac:spMkLst>
        </pc:spChg>
        <pc:spChg chg="mod">
          <ac:chgData name="Deepak NC" userId="3cb0fa79-5b7e-4ca9-b52a-86efcf769e47" providerId="ADAL" clId="{92A42A73-64BD-4FDC-9CA5-1D07968351A1}" dt="2019-11-25T13:27:57.392" v="410" actId="1038"/>
          <ac:spMkLst>
            <pc:docMk/>
            <pc:sldMk cId="4086436799" sldId="4154"/>
            <ac:spMk id="6" creationId="{3E7DD296-1357-401D-A0FE-0E98FA058BE2}"/>
          </ac:spMkLst>
        </pc:spChg>
        <pc:spChg chg="mod">
          <ac:chgData name="Deepak NC" userId="3cb0fa79-5b7e-4ca9-b52a-86efcf769e47" providerId="ADAL" clId="{92A42A73-64BD-4FDC-9CA5-1D07968351A1}" dt="2019-11-25T13:27:57.392" v="410" actId="1038"/>
          <ac:spMkLst>
            <pc:docMk/>
            <pc:sldMk cId="4086436799" sldId="4154"/>
            <ac:spMk id="7" creationId="{1E7FD4A0-6587-44A4-9B32-87BCD40C5A33}"/>
          </ac:spMkLst>
        </pc:spChg>
        <pc:spChg chg="mod">
          <ac:chgData name="Deepak NC" userId="3cb0fa79-5b7e-4ca9-b52a-86efcf769e47" providerId="ADAL" clId="{92A42A73-64BD-4FDC-9CA5-1D07968351A1}" dt="2019-11-25T13:27:57.392" v="410" actId="1038"/>
          <ac:spMkLst>
            <pc:docMk/>
            <pc:sldMk cId="4086436799" sldId="4154"/>
            <ac:spMk id="8" creationId="{5BDC9BA1-9D26-4623-A597-A417E9404DAE}"/>
          </ac:spMkLst>
        </pc:spChg>
        <pc:spChg chg="mod">
          <ac:chgData name="Deepak NC" userId="3cb0fa79-5b7e-4ca9-b52a-86efcf769e47" providerId="ADAL" clId="{92A42A73-64BD-4FDC-9CA5-1D07968351A1}" dt="2019-11-25T13:27:57.392" v="410" actId="1038"/>
          <ac:spMkLst>
            <pc:docMk/>
            <pc:sldMk cId="4086436799" sldId="4154"/>
            <ac:spMk id="9" creationId="{8326A5C2-0BCE-4697-B080-E7AEED9ED097}"/>
          </ac:spMkLst>
        </pc:spChg>
        <pc:spChg chg="mod topLvl">
          <ac:chgData name="Deepak NC" userId="3cb0fa79-5b7e-4ca9-b52a-86efcf769e47" providerId="ADAL" clId="{92A42A73-64BD-4FDC-9CA5-1D07968351A1}" dt="2019-11-25T13:27:57.392" v="410" actId="1038"/>
          <ac:spMkLst>
            <pc:docMk/>
            <pc:sldMk cId="4086436799" sldId="4154"/>
            <ac:spMk id="11" creationId="{2D5B6A48-CE0C-49F5-8DA1-642A93480905}"/>
          </ac:spMkLst>
        </pc:spChg>
        <pc:spChg chg="mod topLvl">
          <ac:chgData name="Deepak NC" userId="3cb0fa79-5b7e-4ca9-b52a-86efcf769e47" providerId="ADAL" clId="{92A42A73-64BD-4FDC-9CA5-1D07968351A1}" dt="2019-11-25T13:27:57.392" v="410" actId="1038"/>
          <ac:spMkLst>
            <pc:docMk/>
            <pc:sldMk cId="4086436799" sldId="4154"/>
            <ac:spMk id="14" creationId="{4D2E00FB-E79C-4D3A-99CA-FA05E205F0C0}"/>
          </ac:spMkLst>
        </pc:spChg>
        <pc:spChg chg="mod topLvl">
          <ac:chgData name="Deepak NC" userId="3cb0fa79-5b7e-4ca9-b52a-86efcf769e47" providerId="ADAL" clId="{92A42A73-64BD-4FDC-9CA5-1D07968351A1}" dt="2019-11-25T13:27:57.392" v="410" actId="1038"/>
          <ac:spMkLst>
            <pc:docMk/>
            <pc:sldMk cId="4086436799" sldId="4154"/>
            <ac:spMk id="17" creationId="{88EEF158-EFF8-4571-A3A3-408A0B4A991C}"/>
          </ac:spMkLst>
        </pc:spChg>
        <pc:spChg chg="mod topLvl">
          <ac:chgData name="Deepak NC" userId="3cb0fa79-5b7e-4ca9-b52a-86efcf769e47" providerId="ADAL" clId="{92A42A73-64BD-4FDC-9CA5-1D07968351A1}" dt="2019-11-25T13:27:57.392" v="410" actId="1038"/>
          <ac:spMkLst>
            <pc:docMk/>
            <pc:sldMk cId="4086436799" sldId="4154"/>
            <ac:spMk id="20" creationId="{C96D746B-9DDF-485B-901F-74D70E15F37E}"/>
          </ac:spMkLst>
        </pc:spChg>
        <pc:spChg chg="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25" creationId="{C4A69754-D5A6-4EE4-AD2A-65378036220E}"/>
          </ac:spMkLst>
        </pc:spChg>
        <pc:spChg chg="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26" creationId="{D799DF25-6D28-43C0-A987-4CF8AD1802DE}"/>
          </ac:spMkLst>
        </pc:spChg>
        <pc:spChg chg="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28" creationId="{0FCDDC9B-B7BB-4647-B4E7-F1C08DA8158C}"/>
          </ac:spMkLst>
        </pc:spChg>
        <pc:spChg chg="del">
          <ac:chgData name="Deepak NC" userId="3cb0fa79-5b7e-4ca9-b52a-86efcf769e47" providerId="ADAL" clId="{92A42A73-64BD-4FDC-9CA5-1D07968351A1}" dt="2019-11-25T13:15:16.124" v="83" actId="478"/>
          <ac:spMkLst>
            <pc:docMk/>
            <pc:sldMk cId="4086436799" sldId="4154"/>
            <ac:spMk id="29" creationId="{EBE7AD1F-1BBE-4D04-98A0-D0CF9BC68E05}"/>
          </ac:spMkLst>
        </pc:spChg>
        <pc:spChg chg="del">
          <ac:chgData name="Deepak NC" userId="3cb0fa79-5b7e-4ca9-b52a-86efcf769e47" providerId="ADAL" clId="{92A42A73-64BD-4FDC-9CA5-1D07968351A1}" dt="2019-11-25T13:15:16.124" v="83" actId="478"/>
          <ac:spMkLst>
            <pc:docMk/>
            <pc:sldMk cId="4086436799" sldId="4154"/>
            <ac:spMk id="33" creationId="{D79695DD-9FCD-4D5F-88B8-A2388B46E0A3}"/>
          </ac:spMkLst>
        </pc:spChg>
        <pc:spChg chg="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34" creationId="{C7E3F674-48FB-4C8F-80E3-3942196AE08F}"/>
          </ac:spMkLst>
        </pc:spChg>
        <pc:spChg chg="del">
          <ac:chgData name="Deepak NC" userId="3cb0fa79-5b7e-4ca9-b52a-86efcf769e47" providerId="ADAL" clId="{92A42A73-64BD-4FDC-9CA5-1D07968351A1}" dt="2019-11-25T13:15:16.124" v="83" actId="478"/>
          <ac:spMkLst>
            <pc:docMk/>
            <pc:sldMk cId="4086436799" sldId="4154"/>
            <ac:spMk id="36" creationId="{3543F225-9AAF-474C-89D2-B5E27DEC1174}"/>
          </ac:spMkLst>
        </pc:spChg>
        <pc:spChg chg="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37" creationId="{1FAEE1B5-53FB-4D88-99F7-E7FB54055A47}"/>
          </ac:spMkLst>
        </pc:spChg>
        <pc:spChg chg="add 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38" creationId="{946C879E-79AC-40D5-8BAF-737C430A052D}"/>
          </ac:spMkLst>
        </pc:spChg>
        <pc:spChg chg="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39" creationId="{D17741F9-A51C-4331-B7FE-2235167757D0}"/>
          </ac:spMkLst>
        </pc:spChg>
        <pc:spChg chg="del">
          <ac:chgData name="Deepak NC" userId="3cb0fa79-5b7e-4ca9-b52a-86efcf769e47" providerId="ADAL" clId="{92A42A73-64BD-4FDC-9CA5-1D07968351A1}" dt="2019-11-25T13:15:16.124" v="83" actId="478"/>
          <ac:spMkLst>
            <pc:docMk/>
            <pc:sldMk cId="4086436799" sldId="4154"/>
            <ac:spMk id="40" creationId="{A3BE8AB7-CBA9-476D-8505-26F1BD3E7F40}"/>
          </ac:spMkLst>
        </pc:spChg>
        <pc:spChg chg="add 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41" creationId="{D1E24124-4024-465A-8E9F-5A99513C61D5}"/>
          </ac:spMkLst>
        </pc:spChg>
        <pc:spChg chg="del">
          <ac:chgData name="Deepak NC" userId="3cb0fa79-5b7e-4ca9-b52a-86efcf769e47" providerId="ADAL" clId="{92A42A73-64BD-4FDC-9CA5-1D07968351A1}" dt="2019-11-25T13:15:16.124" v="83" actId="478"/>
          <ac:spMkLst>
            <pc:docMk/>
            <pc:sldMk cId="4086436799" sldId="4154"/>
            <ac:spMk id="42" creationId="{4CA9C432-D515-4929-BE43-0C54D8676EE6}"/>
          </ac:spMkLst>
        </pc:spChg>
        <pc:spChg chg="add del">
          <ac:chgData name="Deepak NC" userId="3cb0fa79-5b7e-4ca9-b52a-86efcf769e47" providerId="ADAL" clId="{92A42A73-64BD-4FDC-9CA5-1D07968351A1}" dt="2019-11-25T13:00:39.143" v="70"/>
          <ac:spMkLst>
            <pc:docMk/>
            <pc:sldMk cId="4086436799" sldId="4154"/>
            <ac:spMk id="43" creationId="{FC69D909-5748-4E78-9150-329A25BBF6E6}"/>
          </ac:spMkLst>
        </pc:spChg>
        <pc:spChg chg="add 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44" creationId="{C8BA51A1-67E7-4ECC-9E0D-5247A4E33987}"/>
          </ac:spMkLst>
        </pc:spChg>
        <pc:spChg chg="add mod">
          <ac:chgData name="Deepak NC" userId="3cb0fa79-5b7e-4ca9-b52a-86efcf769e47" providerId="ADAL" clId="{92A42A73-64BD-4FDC-9CA5-1D07968351A1}" dt="2019-11-25T13:28:07.173" v="428" actId="1037"/>
          <ac:spMkLst>
            <pc:docMk/>
            <pc:sldMk cId="4086436799" sldId="4154"/>
            <ac:spMk id="45" creationId="{50F70D51-5DCD-4FD0-957C-410112B8B9F0}"/>
          </ac:spMkLst>
        </pc:spChg>
        <pc:spChg chg="mod">
          <ac:chgData name="Deepak NC" userId="3cb0fa79-5b7e-4ca9-b52a-86efcf769e47" providerId="ADAL" clId="{92A42A73-64BD-4FDC-9CA5-1D07968351A1}" dt="2019-11-25T15:07:13.472" v="627" actId="20577"/>
          <ac:spMkLst>
            <pc:docMk/>
            <pc:sldMk cId="4086436799" sldId="4154"/>
            <ac:spMk id="51" creationId="{771F3BA3-240A-4373-9B57-BB48E1A00D58}"/>
          </ac:spMkLst>
        </pc:spChg>
        <pc:grpChg chg="add del mod">
          <ac:chgData name="Deepak NC" userId="3cb0fa79-5b7e-4ca9-b52a-86efcf769e47" providerId="ADAL" clId="{92A42A73-64BD-4FDC-9CA5-1D07968351A1}" dt="2019-11-25T13:17:53.390" v="164" actId="478"/>
          <ac:grpSpMkLst>
            <pc:docMk/>
            <pc:sldMk cId="4086436799" sldId="4154"/>
            <ac:grpSpMk id="10" creationId="{996EFA56-3773-48B7-9838-638CDEC17C1B}"/>
          </ac:grpSpMkLst>
        </pc:grpChg>
        <pc:grpChg chg="add del mod">
          <ac:chgData name="Deepak NC" userId="3cb0fa79-5b7e-4ca9-b52a-86efcf769e47" providerId="ADAL" clId="{92A42A73-64BD-4FDC-9CA5-1D07968351A1}" dt="2019-11-25T13:17:57.228" v="165" actId="478"/>
          <ac:grpSpMkLst>
            <pc:docMk/>
            <pc:sldMk cId="4086436799" sldId="4154"/>
            <ac:grpSpMk id="13" creationId="{BC27EF92-1665-4D18-8568-3671C3BD3DC0}"/>
          </ac:grpSpMkLst>
        </pc:grpChg>
        <pc:grpChg chg="add del mod">
          <ac:chgData name="Deepak NC" userId="3cb0fa79-5b7e-4ca9-b52a-86efcf769e47" providerId="ADAL" clId="{92A42A73-64BD-4FDC-9CA5-1D07968351A1}" dt="2019-11-25T13:18:00.223" v="166" actId="478"/>
          <ac:grpSpMkLst>
            <pc:docMk/>
            <pc:sldMk cId="4086436799" sldId="4154"/>
            <ac:grpSpMk id="16" creationId="{EAA5C94B-5D85-47D4-B571-0EFD0618274B}"/>
          </ac:grpSpMkLst>
        </pc:grpChg>
        <pc:grpChg chg="add del mod">
          <ac:chgData name="Deepak NC" userId="3cb0fa79-5b7e-4ca9-b52a-86efcf769e47" providerId="ADAL" clId="{92A42A73-64BD-4FDC-9CA5-1D07968351A1}" dt="2019-11-25T13:18:03.708" v="167" actId="478"/>
          <ac:grpSpMkLst>
            <pc:docMk/>
            <pc:sldMk cId="4086436799" sldId="4154"/>
            <ac:grpSpMk id="19" creationId="{6C6B1429-5F77-4CE8-B58A-08058AA73CE3}"/>
          </ac:grpSpMkLst>
        </pc:grpChg>
        <pc:picChg chg="del topLvl">
          <ac:chgData name="Deepak NC" userId="3cb0fa79-5b7e-4ca9-b52a-86efcf769e47" providerId="ADAL" clId="{92A42A73-64BD-4FDC-9CA5-1D07968351A1}" dt="2019-11-25T13:17:53.390" v="164" actId="478"/>
          <ac:picMkLst>
            <pc:docMk/>
            <pc:sldMk cId="4086436799" sldId="4154"/>
            <ac:picMk id="12" creationId="{183472DB-35D1-451F-AC21-894F032513B4}"/>
          </ac:picMkLst>
        </pc:picChg>
        <pc:picChg chg="del topLvl">
          <ac:chgData name="Deepak NC" userId="3cb0fa79-5b7e-4ca9-b52a-86efcf769e47" providerId="ADAL" clId="{92A42A73-64BD-4FDC-9CA5-1D07968351A1}" dt="2019-11-25T13:17:57.228" v="165" actId="478"/>
          <ac:picMkLst>
            <pc:docMk/>
            <pc:sldMk cId="4086436799" sldId="4154"/>
            <ac:picMk id="15" creationId="{B1E078D3-3F27-4B28-8778-7B772DFE9016}"/>
          </ac:picMkLst>
        </pc:picChg>
        <pc:picChg chg="del topLvl">
          <ac:chgData name="Deepak NC" userId="3cb0fa79-5b7e-4ca9-b52a-86efcf769e47" providerId="ADAL" clId="{92A42A73-64BD-4FDC-9CA5-1D07968351A1}" dt="2019-11-25T13:18:00.223" v="166" actId="478"/>
          <ac:picMkLst>
            <pc:docMk/>
            <pc:sldMk cId="4086436799" sldId="4154"/>
            <ac:picMk id="18" creationId="{53B061F2-455F-4BC1-B12D-F555F939DECB}"/>
          </ac:picMkLst>
        </pc:picChg>
        <pc:picChg chg="del topLvl">
          <ac:chgData name="Deepak NC" userId="3cb0fa79-5b7e-4ca9-b52a-86efcf769e47" providerId="ADAL" clId="{92A42A73-64BD-4FDC-9CA5-1D07968351A1}" dt="2019-11-25T13:18:03.708" v="167" actId="478"/>
          <ac:picMkLst>
            <pc:docMk/>
            <pc:sldMk cId="4086436799" sldId="4154"/>
            <ac:picMk id="21" creationId="{3B6568A9-FD85-4E21-9C98-E9D4B9933A9C}"/>
          </ac:picMkLst>
        </pc:picChg>
        <pc:picChg chg="add mod">
          <ac:chgData name="Deepak NC" userId="3cb0fa79-5b7e-4ca9-b52a-86efcf769e47" providerId="ADAL" clId="{92A42A73-64BD-4FDC-9CA5-1D07968351A1}" dt="2019-11-25T13:27:57.392" v="410" actId="1038"/>
          <ac:picMkLst>
            <pc:docMk/>
            <pc:sldMk cId="4086436799" sldId="4154"/>
            <ac:picMk id="27" creationId="{98B71DDE-1C02-4C62-B68F-FAA10F1A737B}"/>
          </ac:picMkLst>
        </pc:picChg>
        <pc:picChg chg="mod">
          <ac:chgData name="Deepak NC" userId="3cb0fa79-5b7e-4ca9-b52a-86efcf769e47" providerId="ADAL" clId="{92A42A73-64BD-4FDC-9CA5-1D07968351A1}" dt="2019-11-25T13:28:07.173" v="428" actId="1037"/>
          <ac:picMkLst>
            <pc:docMk/>
            <pc:sldMk cId="4086436799" sldId="4154"/>
            <ac:picMk id="30" creationId="{3D7ADB34-9CB3-4C5F-AAAB-2DF161BD291F}"/>
          </ac:picMkLst>
        </pc:picChg>
        <pc:picChg chg="mod">
          <ac:chgData name="Deepak NC" userId="3cb0fa79-5b7e-4ca9-b52a-86efcf769e47" providerId="ADAL" clId="{92A42A73-64BD-4FDC-9CA5-1D07968351A1}" dt="2019-11-25T13:28:07.173" v="428" actId="1037"/>
          <ac:picMkLst>
            <pc:docMk/>
            <pc:sldMk cId="4086436799" sldId="4154"/>
            <ac:picMk id="31" creationId="{BEC7B5BE-00CC-4488-9963-530BE33BA001}"/>
          </ac:picMkLst>
        </pc:picChg>
        <pc:picChg chg="del">
          <ac:chgData name="Deepak NC" userId="3cb0fa79-5b7e-4ca9-b52a-86efcf769e47" providerId="ADAL" clId="{92A42A73-64BD-4FDC-9CA5-1D07968351A1}" dt="2019-11-25T13:15:16.124" v="83" actId="478"/>
          <ac:picMkLst>
            <pc:docMk/>
            <pc:sldMk cId="4086436799" sldId="4154"/>
            <ac:picMk id="32" creationId="{D8221918-4A20-408C-AFF8-51F734F876DC}"/>
          </ac:picMkLst>
        </pc:picChg>
        <pc:picChg chg="add mod">
          <ac:chgData name="Deepak NC" userId="3cb0fa79-5b7e-4ca9-b52a-86efcf769e47" providerId="ADAL" clId="{92A42A73-64BD-4FDC-9CA5-1D07968351A1}" dt="2019-11-25T13:27:57.392" v="410" actId="1038"/>
          <ac:picMkLst>
            <pc:docMk/>
            <pc:sldMk cId="4086436799" sldId="4154"/>
            <ac:picMk id="47" creationId="{6F4B53C1-E4C0-44DE-A292-332C1A5A4C38}"/>
          </ac:picMkLst>
        </pc:picChg>
        <pc:picChg chg="add mod">
          <ac:chgData name="Deepak NC" userId="3cb0fa79-5b7e-4ca9-b52a-86efcf769e47" providerId="ADAL" clId="{92A42A73-64BD-4FDC-9CA5-1D07968351A1}" dt="2019-11-25T13:27:57.392" v="410" actId="1038"/>
          <ac:picMkLst>
            <pc:docMk/>
            <pc:sldMk cId="4086436799" sldId="4154"/>
            <ac:picMk id="49" creationId="{32A30A47-E367-42B6-A3B1-79499DFA0832}"/>
          </ac:picMkLst>
        </pc:picChg>
        <pc:picChg chg="add mod">
          <ac:chgData name="Deepak NC" userId="3cb0fa79-5b7e-4ca9-b52a-86efcf769e47" providerId="ADAL" clId="{92A42A73-64BD-4FDC-9CA5-1D07968351A1}" dt="2019-11-25T13:27:57.392" v="410" actId="1038"/>
          <ac:picMkLst>
            <pc:docMk/>
            <pc:sldMk cId="4086436799" sldId="4154"/>
            <ac:picMk id="10242" creationId="{D56F951B-F2F9-414D-AAF9-81F499204796}"/>
          </ac:picMkLst>
        </pc:picChg>
        <pc:cxnChg chg="mod">
          <ac:chgData name="Deepak NC" userId="3cb0fa79-5b7e-4ca9-b52a-86efcf769e47" providerId="ADAL" clId="{92A42A73-64BD-4FDC-9CA5-1D07968351A1}" dt="2019-11-25T13:32:03.959" v="434" actId="1036"/>
          <ac:cxnSpMkLst>
            <pc:docMk/>
            <pc:sldMk cId="4086436799" sldId="4154"/>
            <ac:cxnSpMk id="22" creationId="{3145B22C-815F-4872-A901-712E77A2EF3F}"/>
          </ac:cxnSpMkLst>
        </pc:cxnChg>
        <pc:cxnChg chg="del mod">
          <ac:chgData name="Deepak NC" userId="3cb0fa79-5b7e-4ca9-b52a-86efcf769e47" providerId="ADAL" clId="{92A42A73-64BD-4FDC-9CA5-1D07968351A1}" dt="2019-11-25T13:15:34.831" v="111" actId="478"/>
          <ac:cxnSpMkLst>
            <pc:docMk/>
            <pc:sldMk cId="4086436799" sldId="4154"/>
            <ac:cxnSpMk id="23" creationId="{2F7BF1C0-1F37-440C-8841-70850087925A}"/>
          </ac:cxnSpMkLst>
        </pc:cxnChg>
        <pc:cxnChg chg="del mod">
          <ac:chgData name="Deepak NC" userId="3cb0fa79-5b7e-4ca9-b52a-86efcf769e47" providerId="ADAL" clId="{92A42A73-64BD-4FDC-9CA5-1D07968351A1}" dt="2019-11-25T13:15:40.439" v="112" actId="478"/>
          <ac:cxnSpMkLst>
            <pc:docMk/>
            <pc:sldMk cId="4086436799" sldId="4154"/>
            <ac:cxnSpMk id="24" creationId="{AE6F0A2C-8A8E-4BD3-A21F-4FED0E087740}"/>
          </ac:cxnSpMkLst>
        </pc:cxnChg>
        <pc:cxnChg chg="add mod">
          <ac:chgData name="Deepak NC" userId="3cb0fa79-5b7e-4ca9-b52a-86efcf769e47" providerId="ADAL" clId="{92A42A73-64BD-4FDC-9CA5-1D07968351A1}" dt="2019-11-25T13:30:20.022" v="430" actId="1035"/>
          <ac:cxnSpMkLst>
            <pc:docMk/>
            <pc:sldMk cId="4086436799" sldId="4154"/>
            <ac:cxnSpMk id="46" creationId="{52FEE8FA-97E9-4ED4-BB06-9D269E7B5F18}"/>
          </ac:cxnSpMkLst>
        </pc:cxnChg>
      </pc:sldChg>
      <pc:sldChg chg="delSp modSp">
        <pc:chgData name="Deepak NC" userId="3cb0fa79-5b7e-4ca9-b52a-86efcf769e47" providerId="ADAL" clId="{92A42A73-64BD-4FDC-9CA5-1D07968351A1}" dt="2019-11-25T15:09:18.425" v="683" actId="207"/>
        <pc:sldMkLst>
          <pc:docMk/>
          <pc:sldMk cId="2486207161" sldId="4157"/>
        </pc:sldMkLst>
        <pc:spChg chg="del">
          <ac:chgData name="Deepak NC" userId="3cb0fa79-5b7e-4ca9-b52a-86efcf769e47" providerId="ADAL" clId="{92A42A73-64BD-4FDC-9CA5-1D07968351A1}" dt="2019-11-25T15:04:03.762" v="533" actId="478"/>
          <ac:spMkLst>
            <pc:docMk/>
            <pc:sldMk cId="2486207161" sldId="4157"/>
            <ac:spMk id="5" creationId="{B8C99EF7-8462-459F-B50A-3ED9A61F44DE}"/>
          </ac:spMkLst>
        </pc:spChg>
        <pc:spChg chg="del">
          <ac:chgData name="Deepak NC" userId="3cb0fa79-5b7e-4ca9-b52a-86efcf769e47" providerId="ADAL" clId="{92A42A73-64BD-4FDC-9CA5-1D07968351A1}" dt="2019-11-25T15:04:05.512" v="534" actId="478"/>
          <ac:spMkLst>
            <pc:docMk/>
            <pc:sldMk cId="2486207161" sldId="4157"/>
            <ac:spMk id="6" creationId="{2266ED16-9C15-426D-841C-BAC1EFA4ECA3}"/>
          </ac:spMkLst>
        </pc:spChg>
        <pc:spChg chg="mod">
          <ac:chgData name="Deepak NC" userId="3cb0fa79-5b7e-4ca9-b52a-86efcf769e47" providerId="ADAL" clId="{92A42A73-64BD-4FDC-9CA5-1D07968351A1}" dt="2019-11-25T15:06:12.610" v="576" actId="255"/>
          <ac:spMkLst>
            <pc:docMk/>
            <pc:sldMk cId="2486207161" sldId="4157"/>
            <ac:spMk id="21" creationId="{FE779BA4-FB0E-46AE-90DF-D6EE0FB6922E}"/>
          </ac:spMkLst>
        </pc:spChg>
        <pc:spChg chg="mod">
          <ac:chgData name="Deepak NC" userId="3cb0fa79-5b7e-4ca9-b52a-86efcf769e47" providerId="ADAL" clId="{92A42A73-64BD-4FDC-9CA5-1D07968351A1}" dt="2019-11-25T15:06:12.610" v="576" actId="255"/>
          <ac:spMkLst>
            <pc:docMk/>
            <pc:sldMk cId="2486207161" sldId="4157"/>
            <ac:spMk id="24" creationId="{39F4FACE-3CE9-4F8C-B45E-52A8ACF1451F}"/>
          </ac:spMkLst>
        </pc:spChg>
        <pc:spChg chg="mod">
          <ac:chgData name="Deepak NC" userId="3cb0fa79-5b7e-4ca9-b52a-86efcf769e47" providerId="ADAL" clId="{92A42A73-64BD-4FDC-9CA5-1D07968351A1}" dt="2019-11-25T15:06:20.516" v="582" actId="1036"/>
          <ac:spMkLst>
            <pc:docMk/>
            <pc:sldMk cId="2486207161" sldId="4157"/>
            <ac:spMk id="26" creationId="{F650B8EC-10C4-4A8D-9FC4-DB58ED2EF798}"/>
          </ac:spMkLst>
        </pc:spChg>
        <pc:spChg chg="mod">
          <ac:chgData name="Deepak NC" userId="3cb0fa79-5b7e-4ca9-b52a-86efcf769e47" providerId="ADAL" clId="{92A42A73-64BD-4FDC-9CA5-1D07968351A1}" dt="2019-11-25T15:09:18.425" v="683" actId="207"/>
          <ac:spMkLst>
            <pc:docMk/>
            <pc:sldMk cId="2486207161" sldId="4157"/>
            <ac:spMk id="27" creationId="{1731D28B-E320-415B-A53E-B41ACD71CB4D}"/>
          </ac:spMkLst>
        </pc:spChg>
        <pc:spChg chg="mod">
          <ac:chgData name="Deepak NC" userId="3cb0fa79-5b7e-4ca9-b52a-86efcf769e47" providerId="ADAL" clId="{92A42A73-64BD-4FDC-9CA5-1D07968351A1}" dt="2019-11-25T15:01:54.058" v="469" actId="20577"/>
          <ac:spMkLst>
            <pc:docMk/>
            <pc:sldMk cId="2486207161" sldId="4157"/>
            <ac:spMk id="37" creationId="{C1F22717-A510-4E5E-8A18-E97371C9D099}"/>
          </ac:spMkLst>
        </pc:spChg>
        <pc:picChg chg="mod">
          <ac:chgData name="Deepak NC" userId="3cb0fa79-5b7e-4ca9-b52a-86efcf769e47" providerId="ADAL" clId="{92A42A73-64BD-4FDC-9CA5-1D07968351A1}" dt="2019-11-25T15:03:49.180" v="532" actId="207"/>
          <ac:picMkLst>
            <pc:docMk/>
            <pc:sldMk cId="2486207161" sldId="4157"/>
            <ac:picMk id="39" creationId="{3C2CF894-2333-4862-88B1-AE59113027A1}"/>
          </ac:picMkLst>
        </pc:picChg>
      </pc:sldChg>
      <pc:sldChg chg="modSp">
        <pc:chgData name="Deepak NC" userId="3cb0fa79-5b7e-4ca9-b52a-86efcf769e47" providerId="ADAL" clId="{92A42A73-64BD-4FDC-9CA5-1D07968351A1}" dt="2019-11-25T15:08:25.558" v="682" actId="207"/>
        <pc:sldMkLst>
          <pc:docMk/>
          <pc:sldMk cId="3662002440" sldId="4158"/>
        </pc:sldMkLst>
        <pc:spChg chg="mod">
          <ac:chgData name="Deepak NC" userId="3cb0fa79-5b7e-4ca9-b52a-86efcf769e47" providerId="ADAL" clId="{92A42A73-64BD-4FDC-9CA5-1D07968351A1}" dt="2019-11-25T15:07:35.798" v="634" actId="1035"/>
          <ac:spMkLst>
            <pc:docMk/>
            <pc:sldMk cId="3662002440" sldId="4158"/>
            <ac:spMk id="9" creationId="{8326A5C2-0BCE-4697-B080-E7AEED9ED097}"/>
          </ac:spMkLst>
        </pc:spChg>
        <pc:picChg chg="mod">
          <ac:chgData name="Deepak NC" userId="3cb0fa79-5b7e-4ca9-b52a-86efcf769e47" providerId="ADAL" clId="{92A42A73-64BD-4FDC-9CA5-1D07968351A1}" dt="2019-11-25T15:08:25.558" v="682" actId="207"/>
          <ac:picMkLst>
            <pc:docMk/>
            <pc:sldMk cId="3662002440" sldId="4158"/>
            <ac:picMk id="3" creationId="{A2F646DE-8A19-414C-A34A-387C5656DE4F}"/>
          </ac:picMkLst>
        </pc:picChg>
        <pc:picChg chg="mod">
          <ac:chgData name="Deepak NC" userId="3cb0fa79-5b7e-4ca9-b52a-86efcf769e47" providerId="ADAL" clId="{92A42A73-64BD-4FDC-9CA5-1D07968351A1}" dt="2019-11-25T15:08:25.558" v="682" actId="207"/>
          <ac:picMkLst>
            <pc:docMk/>
            <pc:sldMk cId="3662002440" sldId="4158"/>
            <ac:picMk id="19" creationId="{BFDBDDA3-F778-4363-8DEC-F5EBCE84DBF5}"/>
          </ac:picMkLst>
        </pc:picChg>
        <pc:picChg chg="mod">
          <ac:chgData name="Deepak NC" userId="3cb0fa79-5b7e-4ca9-b52a-86efcf769e47" providerId="ADAL" clId="{92A42A73-64BD-4FDC-9CA5-1D07968351A1}" dt="2019-11-25T15:08:25.558" v="682" actId="207"/>
          <ac:picMkLst>
            <pc:docMk/>
            <pc:sldMk cId="3662002440" sldId="4158"/>
            <ac:picMk id="23" creationId="{5A967340-0477-4DF0-ADCC-A4F6BF21D89D}"/>
          </ac:picMkLst>
        </pc:picChg>
        <pc:picChg chg="mod">
          <ac:chgData name="Deepak NC" userId="3cb0fa79-5b7e-4ca9-b52a-86efcf769e47" providerId="ADAL" clId="{92A42A73-64BD-4FDC-9CA5-1D07968351A1}" dt="2019-11-25T15:08:25.558" v="682" actId="207"/>
          <ac:picMkLst>
            <pc:docMk/>
            <pc:sldMk cId="3662002440" sldId="4158"/>
            <ac:picMk id="29" creationId="{B391F7D6-3AF0-45E4-80D8-1A183AAC824B}"/>
          </ac:picMkLst>
        </pc:picChg>
      </pc:sldChg>
    </pc:docChg>
  </pc:docChgLst>
  <pc:docChgLst>
    <pc:chgData name="Nareshkumar Chandrahasan Senthilkumar" userId="94e27b3e-23d3-4a66-96b2-654caa749964" providerId="ADAL" clId="{9E51E600-D759-4B27-A5B3-BA7C0F1E9E8F}"/>
    <pc:docChg chg="modSld">
      <pc:chgData name="Nareshkumar Chandrahasan Senthilkumar" userId="94e27b3e-23d3-4a66-96b2-654caa749964" providerId="ADAL" clId="{9E51E600-D759-4B27-A5B3-BA7C0F1E9E8F}" dt="2019-11-13T12:13:18.214" v="21" actId="20577"/>
      <pc:docMkLst>
        <pc:docMk/>
      </pc:docMkLst>
    </pc:docChg>
  </pc:docChgLst>
  <pc:docChgLst>
    <pc:chgData name="Syed Misbah Ahmed" userId="b60d97c1-67d9-44bc-9199-a37937022ab6" providerId="ADAL" clId="{9B55B3A8-0C10-46F7-890F-ACC9AE80DC97}"/>
    <pc:docChg chg="undo custSel addSld delSld modSld sldOrd delMainMaster addSection delSection modSection">
      <pc:chgData name="Syed Misbah Ahmed" userId="b60d97c1-67d9-44bc-9199-a37937022ab6" providerId="ADAL" clId="{9B55B3A8-0C10-46F7-890F-ACC9AE80DC97}" dt="2019-11-25T14:29:25.456" v="3815" actId="1076"/>
      <pc:docMkLst>
        <pc:docMk/>
      </pc:docMkLst>
      <pc:sldChg chg="add del">
        <pc:chgData name="Syed Misbah Ahmed" userId="b60d97c1-67d9-44bc-9199-a37937022ab6" providerId="ADAL" clId="{9B55B3A8-0C10-46F7-890F-ACC9AE80DC97}" dt="2019-11-25T13:39:57.534" v="847" actId="2696"/>
        <pc:sldMkLst>
          <pc:docMk/>
          <pc:sldMk cId="3903224389" sldId="2152"/>
        </pc:sldMkLst>
      </pc:sldChg>
      <pc:sldChg chg="modSp add del">
        <pc:chgData name="Syed Misbah Ahmed" userId="b60d97c1-67d9-44bc-9199-a37937022ab6" providerId="ADAL" clId="{9B55B3A8-0C10-46F7-890F-ACC9AE80DC97}" dt="2019-11-25T13:40:15.620" v="884" actId="113"/>
        <pc:sldMkLst>
          <pc:docMk/>
          <pc:sldMk cId="1536301184" sldId="2217"/>
        </pc:sldMkLst>
        <pc:spChg chg="mod">
          <ac:chgData name="Syed Misbah Ahmed" userId="b60d97c1-67d9-44bc-9199-a37937022ab6" providerId="ADAL" clId="{9B55B3A8-0C10-46F7-890F-ACC9AE80DC97}" dt="2019-11-25T13:40:15.620" v="884" actId="113"/>
          <ac:spMkLst>
            <pc:docMk/>
            <pc:sldMk cId="1536301184" sldId="2217"/>
            <ac:spMk id="19" creationId="{1ED60644-453A-4872-86BA-7B618A2A0FA8}"/>
          </ac:spMkLst>
        </pc:spChg>
      </pc:sldChg>
      <pc:sldChg chg="add del">
        <pc:chgData name="Syed Misbah Ahmed" userId="b60d97c1-67d9-44bc-9199-a37937022ab6" providerId="ADAL" clId="{9B55B3A8-0C10-46F7-890F-ACC9AE80DC97}" dt="2019-11-25T12:38:04.464" v="6"/>
        <pc:sldMkLst>
          <pc:docMk/>
          <pc:sldMk cId="2958657880" sldId="3012"/>
        </pc:sldMkLst>
      </pc:sldChg>
      <pc:sldChg chg="add del">
        <pc:chgData name="Syed Misbah Ahmed" userId="b60d97c1-67d9-44bc-9199-a37937022ab6" providerId="ADAL" clId="{9B55B3A8-0C10-46F7-890F-ACC9AE80DC97}" dt="2019-11-25T13:40:01.714" v="850" actId="2696"/>
        <pc:sldMkLst>
          <pc:docMk/>
          <pc:sldMk cId="1465322803" sldId="3014"/>
        </pc:sldMkLst>
      </pc:sldChg>
      <pc:sldChg chg="modSp del">
        <pc:chgData name="Syed Misbah Ahmed" userId="b60d97c1-67d9-44bc-9199-a37937022ab6" providerId="ADAL" clId="{9B55B3A8-0C10-46F7-890F-ACC9AE80DC97}" dt="2019-11-25T13:39:54.711" v="837" actId="2696"/>
        <pc:sldMkLst>
          <pc:docMk/>
          <pc:sldMk cId="588250354" sldId="4152"/>
        </pc:sldMkLst>
        <pc:spChg chg="mod">
          <ac:chgData name="Syed Misbah Ahmed" userId="b60d97c1-67d9-44bc-9199-a37937022ab6" providerId="ADAL" clId="{9B55B3A8-0C10-46F7-890F-ACC9AE80DC97}" dt="2019-11-25T12:30:48.379" v="0" actId="1076"/>
          <ac:spMkLst>
            <pc:docMk/>
            <pc:sldMk cId="588250354" sldId="4152"/>
            <ac:spMk id="112" creationId="{8EE253C2-055C-43DE-A435-F6AC06C50587}"/>
          </ac:spMkLst>
        </pc:spChg>
        <pc:spChg chg="mod">
          <ac:chgData name="Syed Misbah Ahmed" userId="b60d97c1-67d9-44bc-9199-a37937022ab6" providerId="ADAL" clId="{9B55B3A8-0C10-46F7-890F-ACC9AE80DC97}" dt="2019-11-25T12:33:20.475" v="3" actId="1076"/>
          <ac:spMkLst>
            <pc:docMk/>
            <pc:sldMk cId="588250354" sldId="4152"/>
            <ac:spMk id="118" creationId="{FBD8C73E-CE13-4F4D-B866-D81FF9D25510}"/>
          </ac:spMkLst>
        </pc:spChg>
        <pc:spChg chg="mod">
          <ac:chgData name="Syed Misbah Ahmed" userId="b60d97c1-67d9-44bc-9199-a37937022ab6" providerId="ADAL" clId="{9B55B3A8-0C10-46F7-890F-ACC9AE80DC97}" dt="2019-11-25T12:32:21.867" v="2" actId="1076"/>
          <ac:spMkLst>
            <pc:docMk/>
            <pc:sldMk cId="588250354" sldId="4152"/>
            <ac:spMk id="142" creationId="{05787510-B686-4803-BD8B-DB3A85ACAE3C}"/>
          </ac:spMkLst>
        </pc:spChg>
      </pc:sldChg>
      <pc:sldChg chg="add del">
        <pc:chgData name="Syed Misbah Ahmed" userId="b60d97c1-67d9-44bc-9199-a37937022ab6" providerId="ADAL" clId="{9B55B3A8-0C10-46F7-890F-ACC9AE80DC97}" dt="2019-11-25T13:39:59.541" v="848" actId="2696"/>
        <pc:sldMkLst>
          <pc:docMk/>
          <pc:sldMk cId="1272319955" sldId="4153"/>
        </pc:sldMkLst>
      </pc:sldChg>
      <pc:sldChg chg="addSp delSp modSp add del ord">
        <pc:chgData name="Syed Misbah Ahmed" userId="b60d97c1-67d9-44bc-9199-a37937022ab6" providerId="ADAL" clId="{9B55B3A8-0C10-46F7-890F-ACC9AE80DC97}" dt="2019-11-25T13:48:15.241" v="1354" actId="1076"/>
        <pc:sldMkLst>
          <pc:docMk/>
          <pc:sldMk cId="4086436799" sldId="4154"/>
        </pc:sldMkLst>
        <pc:spChg chg="del">
          <ac:chgData name="Syed Misbah Ahmed" userId="b60d97c1-67d9-44bc-9199-a37937022ab6" providerId="ADAL" clId="{9B55B3A8-0C10-46F7-890F-ACC9AE80DC97}" dt="2019-11-25T13:45:11.185" v="1075" actId="478"/>
          <ac:spMkLst>
            <pc:docMk/>
            <pc:sldMk cId="4086436799" sldId="4154"/>
            <ac:spMk id="2" creationId="{5811E7C8-B484-4514-A802-B2BF32375F89}"/>
          </ac:spMkLst>
        </pc:spChg>
        <pc:spChg chg="del">
          <ac:chgData name="Syed Misbah Ahmed" userId="b60d97c1-67d9-44bc-9199-a37937022ab6" providerId="ADAL" clId="{9B55B3A8-0C10-46F7-890F-ACC9AE80DC97}" dt="2019-11-25T12:38:17.936" v="8" actId="478"/>
          <ac:spMkLst>
            <pc:docMk/>
            <pc:sldMk cId="4086436799" sldId="4154"/>
            <ac:spMk id="3" creationId="{E4D98824-6B20-47CD-B313-D8051B0603B1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6" creationId="{3E7DD296-1357-401D-A0FE-0E98FA058BE2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7" creationId="{1E7FD4A0-6587-44A4-9B32-87BCD40C5A33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8" creationId="{5BDC9BA1-9D26-4623-A597-A417E9404DAE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9" creationId="{8326A5C2-0BCE-4697-B080-E7AEED9ED097}"/>
          </ac:spMkLst>
        </pc:spChg>
        <pc:spChg chg="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11" creationId="{2D5B6A48-CE0C-49F5-8DA1-642A93480905}"/>
          </ac:spMkLst>
        </pc:spChg>
        <pc:spChg chg="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14" creationId="{4D2E00FB-E79C-4D3A-99CA-FA05E205F0C0}"/>
          </ac:spMkLst>
        </pc:spChg>
        <pc:spChg chg="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17" creationId="{88EEF158-EFF8-4571-A3A3-408A0B4A991C}"/>
          </ac:spMkLst>
        </pc:spChg>
        <pc:spChg chg="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20" creationId="{C96D746B-9DDF-485B-901F-74D70E15F37E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25" creationId="{C4A69754-D5A6-4EE4-AD2A-65378036220E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26" creationId="{D799DF25-6D28-43C0-A987-4CF8AD1802DE}"/>
          </ac:spMkLst>
        </pc:spChg>
        <pc:spChg chg="add del">
          <ac:chgData name="Syed Misbah Ahmed" userId="b60d97c1-67d9-44bc-9199-a37937022ab6" providerId="ADAL" clId="{9B55B3A8-0C10-46F7-890F-ACC9AE80DC97}" dt="2019-11-25T12:39:46.200" v="40" actId="478"/>
          <ac:spMkLst>
            <pc:docMk/>
            <pc:sldMk cId="4086436799" sldId="4154"/>
            <ac:spMk id="27" creationId="{1CEDF12B-CAFC-4167-8F22-44C804742504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28" creationId="{0FCDDC9B-B7BB-4647-B4E7-F1C08DA8158C}"/>
          </ac:spMkLst>
        </pc:spChg>
        <pc:spChg chg="add mod">
          <ac:chgData name="Syed Misbah Ahmed" userId="b60d97c1-67d9-44bc-9199-a37937022ab6" providerId="ADAL" clId="{9B55B3A8-0C10-46F7-890F-ACC9AE80DC97}" dt="2019-11-25T12:41:04.171" v="77" actId="1037"/>
          <ac:spMkLst>
            <pc:docMk/>
            <pc:sldMk cId="4086436799" sldId="4154"/>
            <ac:spMk id="29" creationId="{EBE7AD1F-1BBE-4D04-98A0-D0CF9BC68E05}"/>
          </ac:spMkLst>
        </pc:spChg>
        <pc:spChg chg="add">
          <ac:chgData name="Syed Misbah Ahmed" userId="b60d97c1-67d9-44bc-9199-a37937022ab6" providerId="ADAL" clId="{9B55B3A8-0C10-46F7-890F-ACC9AE80DC97}" dt="2019-11-25T12:38:30.028" v="9"/>
          <ac:spMkLst>
            <pc:docMk/>
            <pc:sldMk cId="4086436799" sldId="4154"/>
            <ac:spMk id="33" creationId="{D79695DD-9FCD-4D5F-88B8-A2388B46E0A3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34" creationId="{C7E3F674-48FB-4C8F-80E3-3942196AE08F}"/>
          </ac:spMkLst>
        </pc:spChg>
        <pc:spChg chg="add del">
          <ac:chgData name="Syed Misbah Ahmed" userId="b60d97c1-67d9-44bc-9199-a37937022ab6" providerId="ADAL" clId="{9B55B3A8-0C10-46F7-890F-ACC9AE80DC97}" dt="2019-11-25T12:39:46.200" v="40" actId="478"/>
          <ac:spMkLst>
            <pc:docMk/>
            <pc:sldMk cId="4086436799" sldId="4154"/>
            <ac:spMk id="35" creationId="{C2C412ED-3DF3-4B02-BD70-976EE259CC88}"/>
          </ac:spMkLst>
        </pc:spChg>
        <pc:spChg chg="add">
          <ac:chgData name="Syed Misbah Ahmed" userId="b60d97c1-67d9-44bc-9199-a37937022ab6" providerId="ADAL" clId="{9B55B3A8-0C10-46F7-890F-ACC9AE80DC97}" dt="2019-11-25T12:38:30.028" v="9"/>
          <ac:spMkLst>
            <pc:docMk/>
            <pc:sldMk cId="4086436799" sldId="4154"/>
            <ac:spMk id="36" creationId="{3543F225-9AAF-474C-89D2-B5E27DEC1174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37" creationId="{1FAEE1B5-53FB-4D88-99F7-E7FB54055A47}"/>
          </ac:spMkLst>
        </pc:spChg>
        <pc:spChg chg="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38" creationId="{946C879E-79AC-40D5-8BAF-737C430A052D}"/>
          </ac:spMkLst>
        </pc:spChg>
        <pc:spChg chg="add del">
          <ac:chgData name="Syed Misbah Ahmed" userId="b60d97c1-67d9-44bc-9199-a37937022ab6" providerId="ADAL" clId="{9B55B3A8-0C10-46F7-890F-ACC9AE80DC97}" dt="2019-11-25T12:39:46.200" v="40" actId="478"/>
          <ac:spMkLst>
            <pc:docMk/>
            <pc:sldMk cId="4086436799" sldId="4154"/>
            <ac:spMk id="38" creationId="{DDD25BB2-80F9-4FB4-9E82-F39E8E4773CC}"/>
          </ac:spMkLst>
        </pc:spChg>
        <pc:spChg chg="add mod">
          <ac:chgData name="Syed Misbah Ahmed" userId="b60d97c1-67d9-44bc-9199-a37937022ab6" providerId="ADAL" clId="{9B55B3A8-0C10-46F7-890F-ACC9AE80DC97}" dt="2019-11-25T13:47:58.053" v="1351" actId="1035"/>
          <ac:spMkLst>
            <pc:docMk/>
            <pc:sldMk cId="4086436799" sldId="4154"/>
            <ac:spMk id="39" creationId="{D17741F9-A51C-4331-B7FE-2235167757D0}"/>
          </ac:spMkLst>
        </pc:spChg>
        <pc:spChg chg="add">
          <ac:chgData name="Syed Misbah Ahmed" userId="b60d97c1-67d9-44bc-9199-a37937022ab6" providerId="ADAL" clId="{9B55B3A8-0C10-46F7-890F-ACC9AE80DC97}" dt="2019-11-25T12:38:30.028" v="9"/>
          <ac:spMkLst>
            <pc:docMk/>
            <pc:sldMk cId="4086436799" sldId="4154"/>
            <ac:spMk id="40" creationId="{A3BE8AB7-CBA9-476D-8505-26F1BD3E7F40}"/>
          </ac:spMkLst>
        </pc:spChg>
        <pc:spChg chg="add del">
          <ac:chgData name="Syed Misbah Ahmed" userId="b60d97c1-67d9-44bc-9199-a37937022ab6" providerId="ADAL" clId="{9B55B3A8-0C10-46F7-890F-ACC9AE80DC97}" dt="2019-11-25T12:39:46.200" v="40" actId="478"/>
          <ac:spMkLst>
            <pc:docMk/>
            <pc:sldMk cId="4086436799" sldId="4154"/>
            <ac:spMk id="41" creationId="{B67D0736-76A3-4163-A184-69A0E9F95D7A}"/>
          </ac:spMkLst>
        </pc:spChg>
        <pc:spChg chg="mod">
          <ac:chgData name="Syed Misbah Ahmed" userId="b60d97c1-67d9-44bc-9199-a37937022ab6" providerId="ADAL" clId="{9B55B3A8-0C10-46F7-890F-ACC9AE80DC97}" dt="2019-11-25T13:48:03.356" v="1352" actId="1076"/>
          <ac:spMkLst>
            <pc:docMk/>
            <pc:sldMk cId="4086436799" sldId="4154"/>
            <ac:spMk id="41" creationId="{D1E24124-4024-465A-8E9F-5A99513C61D5}"/>
          </ac:spMkLst>
        </pc:spChg>
        <pc:spChg chg="add">
          <ac:chgData name="Syed Misbah Ahmed" userId="b60d97c1-67d9-44bc-9199-a37937022ab6" providerId="ADAL" clId="{9B55B3A8-0C10-46F7-890F-ACC9AE80DC97}" dt="2019-11-25T12:38:30.028" v="9"/>
          <ac:spMkLst>
            <pc:docMk/>
            <pc:sldMk cId="4086436799" sldId="4154"/>
            <ac:spMk id="42" creationId="{4CA9C432-D515-4929-BE43-0C54D8676EE6}"/>
          </ac:spMkLst>
        </pc:spChg>
        <pc:spChg chg="add del">
          <ac:chgData name="Syed Misbah Ahmed" userId="b60d97c1-67d9-44bc-9199-a37937022ab6" providerId="ADAL" clId="{9B55B3A8-0C10-46F7-890F-ACC9AE80DC97}" dt="2019-11-25T12:43:00.597" v="102" actId="478"/>
          <ac:spMkLst>
            <pc:docMk/>
            <pc:sldMk cId="4086436799" sldId="4154"/>
            <ac:spMk id="43" creationId="{CBA39570-DA01-445E-94FE-8AF490F746B3}"/>
          </ac:spMkLst>
        </pc:spChg>
        <pc:spChg chg="add del">
          <ac:chgData name="Syed Misbah Ahmed" userId="b60d97c1-67d9-44bc-9199-a37937022ab6" providerId="ADAL" clId="{9B55B3A8-0C10-46F7-890F-ACC9AE80DC97}" dt="2019-11-25T12:43:00.597" v="102" actId="478"/>
          <ac:spMkLst>
            <pc:docMk/>
            <pc:sldMk cId="4086436799" sldId="4154"/>
            <ac:spMk id="44" creationId="{AF3E6BE0-7625-4576-92DB-6CCF1EFE3D7E}"/>
          </ac:spMkLst>
        </pc:spChg>
        <pc:spChg chg="mod">
          <ac:chgData name="Syed Misbah Ahmed" userId="b60d97c1-67d9-44bc-9199-a37937022ab6" providerId="ADAL" clId="{9B55B3A8-0C10-46F7-890F-ACC9AE80DC97}" dt="2019-11-25T13:48:08" v="1353" actId="1076"/>
          <ac:spMkLst>
            <pc:docMk/>
            <pc:sldMk cId="4086436799" sldId="4154"/>
            <ac:spMk id="44" creationId="{C8BA51A1-67E7-4ECC-9E0D-5247A4E33987}"/>
          </ac:spMkLst>
        </pc:spChg>
        <pc:spChg chg="mod">
          <ac:chgData name="Syed Misbah Ahmed" userId="b60d97c1-67d9-44bc-9199-a37937022ab6" providerId="ADAL" clId="{9B55B3A8-0C10-46F7-890F-ACC9AE80DC97}" dt="2019-11-25T13:48:15.241" v="1354" actId="1076"/>
          <ac:spMkLst>
            <pc:docMk/>
            <pc:sldMk cId="4086436799" sldId="4154"/>
            <ac:spMk id="45" creationId="{50F70D51-5DCD-4FD0-957C-410112B8B9F0}"/>
          </ac:spMkLst>
        </pc:spChg>
        <pc:spChg chg="add del">
          <ac:chgData name="Syed Misbah Ahmed" userId="b60d97c1-67d9-44bc-9199-a37937022ab6" providerId="ADAL" clId="{9B55B3A8-0C10-46F7-890F-ACC9AE80DC97}" dt="2019-11-25T12:43:00.597" v="102" actId="478"/>
          <ac:spMkLst>
            <pc:docMk/>
            <pc:sldMk cId="4086436799" sldId="4154"/>
            <ac:spMk id="45" creationId="{6803E135-AAA2-4C02-9264-36AF92C6B1FD}"/>
          </ac:spMkLst>
        </pc:spChg>
        <pc:spChg chg="add del">
          <ac:chgData name="Syed Misbah Ahmed" userId="b60d97c1-67d9-44bc-9199-a37937022ab6" providerId="ADAL" clId="{9B55B3A8-0C10-46F7-890F-ACC9AE80DC97}" dt="2019-11-25T12:43:00.597" v="102" actId="478"/>
          <ac:spMkLst>
            <pc:docMk/>
            <pc:sldMk cId="4086436799" sldId="4154"/>
            <ac:spMk id="46" creationId="{5053987D-0593-4D49-95D3-40F1195B8D24}"/>
          </ac:spMkLst>
        </pc:spChg>
        <pc:spChg chg="add del">
          <ac:chgData name="Syed Misbah Ahmed" userId="b60d97c1-67d9-44bc-9199-a37937022ab6" providerId="ADAL" clId="{9B55B3A8-0C10-46F7-890F-ACC9AE80DC97}" dt="2019-11-25T13:45:09.197" v="1074"/>
          <ac:spMkLst>
            <pc:docMk/>
            <pc:sldMk cId="4086436799" sldId="4154"/>
            <ac:spMk id="50" creationId="{5B24A34E-FDDC-404D-A160-4A472D55FA8D}"/>
          </ac:spMkLst>
        </pc:spChg>
        <pc:spChg chg="add mod">
          <ac:chgData name="Syed Misbah Ahmed" userId="b60d97c1-67d9-44bc-9199-a37937022ab6" providerId="ADAL" clId="{9B55B3A8-0C10-46F7-890F-ACC9AE80DC97}" dt="2019-11-25T13:47:49.563" v="1337" actId="20577"/>
          <ac:spMkLst>
            <pc:docMk/>
            <pc:sldMk cId="4086436799" sldId="4154"/>
            <ac:spMk id="51" creationId="{771F3BA3-240A-4373-9B57-BB48E1A00D58}"/>
          </ac:spMkLst>
        </pc:spChg>
        <pc:grpChg chg="add">
          <ac:chgData name="Syed Misbah Ahmed" userId="b60d97c1-67d9-44bc-9199-a37937022ab6" providerId="ADAL" clId="{9B55B3A8-0C10-46F7-890F-ACC9AE80DC97}" dt="2019-11-25T12:38:30.028" v="9"/>
          <ac:grpSpMkLst>
            <pc:docMk/>
            <pc:sldMk cId="4086436799" sldId="4154"/>
            <ac:grpSpMk id="10" creationId="{996EFA56-3773-48B7-9838-638CDEC17C1B}"/>
          </ac:grpSpMkLst>
        </pc:grpChg>
        <pc:grpChg chg="add">
          <ac:chgData name="Syed Misbah Ahmed" userId="b60d97c1-67d9-44bc-9199-a37937022ab6" providerId="ADAL" clId="{9B55B3A8-0C10-46F7-890F-ACC9AE80DC97}" dt="2019-11-25T12:38:30.028" v="9"/>
          <ac:grpSpMkLst>
            <pc:docMk/>
            <pc:sldMk cId="4086436799" sldId="4154"/>
            <ac:grpSpMk id="13" creationId="{BC27EF92-1665-4D18-8568-3671C3BD3DC0}"/>
          </ac:grpSpMkLst>
        </pc:grpChg>
        <pc:grpChg chg="add">
          <ac:chgData name="Syed Misbah Ahmed" userId="b60d97c1-67d9-44bc-9199-a37937022ab6" providerId="ADAL" clId="{9B55B3A8-0C10-46F7-890F-ACC9AE80DC97}" dt="2019-11-25T12:38:30.028" v="9"/>
          <ac:grpSpMkLst>
            <pc:docMk/>
            <pc:sldMk cId="4086436799" sldId="4154"/>
            <ac:grpSpMk id="16" creationId="{EAA5C94B-5D85-47D4-B571-0EFD0618274B}"/>
          </ac:grpSpMkLst>
        </pc:grpChg>
        <pc:grpChg chg="add">
          <ac:chgData name="Syed Misbah Ahmed" userId="b60d97c1-67d9-44bc-9199-a37937022ab6" providerId="ADAL" clId="{9B55B3A8-0C10-46F7-890F-ACC9AE80DC97}" dt="2019-11-25T12:38:30.028" v="9"/>
          <ac:grpSpMkLst>
            <pc:docMk/>
            <pc:sldMk cId="4086436799" sldId="4154"/>
            <ac:grpSpMk id="19" creationId="{6C6B1429-5F77-4CE8-B58A-08058AA73CE3}"/>
          </ac:grpSpMkLst>
        </pc:grpChg>
        <pc:picChg chg="mod">
          <ac:chgData name="Syed Misbah Ahmed" userId="b60d97c1-67d9-44bc-9199-a37937022ab6" providerId="ADAL" clId="{9B55B3A8-0C10-46F7-890F-ACC9AE80DC97}" dt="2019-11-25T13:47:58.053" v="1351" actId="1035"/>
          <ac:picMkLst>
            <pc:docMk/>
            <pc:sldMk cId="4086436799" sldId="4154"/>
            <ac:picMk id="27" creationId="{98B71DDE-1C02-4C62-B68F-FAA10F1A737B}"/>
          </ac:picMkLst>
        </pc:picChg>
        <pc:picChg chg="add mod">
          <ac:chgData name="Syed Misbah Ahmed" userId="b60d97c1-67d9-44bc-9199-a37937022ab6" providerId="ADAL" clId="{9B55B3A8-0C10-46F7-890F-ACC9AE80DC97}" dt="2019-11-25T13:47:58.053" v="1351" actId="1035"/>
          <ac:picMkLst>
            <pc:docMk/>
            <pc:sldMk cId="4086436799" sldId="4154"/>
            <ac:picMk id="30" creationId="{3D7ADB34-9CB3-4C5F-AAAB-2DF161BD291F}"/>
          </ac:picMkLst>
        </pc:picChg>
        <pc:picChg chg="add mod">
          <ac:chgData name="Syed Misbah Ahmed" userId="b60d97c1-67d9-44bc-9199-a37937022ab6" providerId="ADAL" clId="{9B55B3A8-0C10-46F7-890F-ACC9AE80DC97}" dt="2019-11-25T13:47:58.053" v="1351" actId="1035"/>
          <ac:picMkLst>
            <pc:docMk/>
            <pc:sldMk cId="4086436799" sldId="4154"/>
            <ac:picMk id="31" creationId="{BEC7B5BE-00CC-4488-9963-530BE33BA001}"/>
          </ac:picMkLst>
        </pc:picChg>
        <pc:picChg chg="add mod">
          <ac:chgData name="Syed Misbah Ahmed" userId="b60d97c1-67d9-44bc-9199-a37937022ab6" providerId="ADAL" clId="{9B55B3A8-0C10-46F7-890F-ACC9AE80DC97}" dt="2019-11-25T12:41:04.171" v="77" actId="1037"/>
          <ac:picMkLst>
            <pc:docMk/>
            <pc:sldMk cId="4086436799" sldId="4154"/>
            <ac:picMk id="32" creationId="{D8221918-4A20-408C-AFF8-51F734F876DC}"/>
          </ac:picMkLst>
        </pc:picChg>
        <pc:picChg chg="mod">
          <ac:chgData name="Syed Misbah Ahmed" userId="b60d97c1-67d9-44bc-9199-a37937022ab6" providerId="ADAL" clId="{9B55B3A8-0C10-46F7-890F-ACC9AE80DC97}" dt="2019-11-25T13:47:58.053" v="1351" actId="1035"/>
          <ac:picMkLst>
            <pc:docMk/>
            <pc:sldMk cId="4086436799" sldId="4154"/>
            <ac:picMk id="47" creationId="{6F4B53C1-E4C0-44DE-A292-332C1A5A4C38}"/>
          </ac:picMkLst>
        </pc:picChg>
        <pc:picChg chg="mod">
          <ac:chgData name="Syed Misbah Ahmed" userId="b60d97c1-67d9-44bc-9199-a37937022ab6" providerId="ADAL" clId="{9B55B3A8-0C10-46F7-890F-ACC9AE80DC97}" dt="2019-11-25T13:47:58.053" v="1351" actId="1035"/>
          <ac:picMkLst>
            <pc:docMk/>
            <pc:sldMk cId="4086436799" sldId="4154"/>
            <ac:picMk id="49" creationId="{32A30A47-E367-42B6-A3B1-79499DFA0832}"/>
          </ac:picMkLst>
        </pc:picChg>
        <pc:picChg chg="mod">
          <ac:chgData name="Syed Misbah Ahmed" userId="b60d97c1-67d9-44bc-9199-a37937022ab6" providerId="ADAL" clId="{9B55B3A8-0C10-46F7-890F-ACC9AE80DC97}" dt="2019-11-25T13:47:58.053" v="1351" actId="1035"/>
          <ac:picMkLst>
            <pc:docMk/>
            <pc:sldMk cId="4086436799" sldId="4154"/>
            <ac:picMk id="10242" creationId="{D56F951B-F2F9-414D-AAF9-81F499204796}"/>
          </ac:picMkLst>
        </pc:picChg>
        <pc:cxnChg chg="add mod">
          <ac:chgData name="Syed Misbah Ahmed" userId="b60d97c1-67d9-44bc-9199-a37937022ab6" providerId="ADAL" clId="{9B55B3A8-0C10-46F7-890F-ACC9AE80DC97}" dt="2019-11-25T13:47:58.053" v="1351" actId="1035"/>
          <ac:cxnSpMkLst>
            <pc:docMk/>
            <pc:sldMk cId="4086436799" sldId="4154"/>
            <ac:cxnSpMk id="22" creationId="{3145B22C-815F-4872-A901-712E77A2EF3F}"/>
          </ac:cxnSpMkLst>
        </pc:cxnChg>
        <pc:cxnChg chg="add mod">
          <ac:chgData name="Syed Misbah Ahmed" userId="b60d97c1-67d9-44bc-9199-a37937022ab6" providerId="ADAL" clId="{9B55B3A8-0C10-46F7-890F-ACC9AE80DC97}" dt="2019-11-25T12:41:09.952" v="78" actId="1076"/>
          <ac:cxnSpMkLst>
            <pc:docMk/>
            <pc:sldMk cId="4086436799" sldId="4154"/>
            <ac:cxnSpMk id="23" creationId="{2F7BF1C0-1F37-440C-8841-70850087925A}"/>
          </ac:cxnSpMkLst>
        </pc:cxnChg>
        <pc:cxnChg chg="add">
          <ac:chgData name="Syed Misbah Ahmed" userId="b60d97c1-67d9-44bc-9199-a37937022ab6" providerId="ADAL" clId="{9B55B3A8-0C10-46F7-890F-ACC9AE80DC97}" dt="2019-11-25T12:38:30.028" v="9"/>
          <ac:cxnSpMkLst>
            <pc:docMk/>
            <pc:sldMk cId="4086436799" sldId="4154"/>
            <ac:cxnSpMk id="24" creationId="{AE6F0A2C-8A8E-4BD3-A21F-4FED0E087740}"/>
          </ac:cxnSpMkLst>
        </pc:cxnChg>
        <pc:cxnChg chg="mod">
          <ac:chgData name="Syed Misbah Ahmed" userId="b60d97c1-67d9-44bc-9199-a37937022ab6" providerId="ADAL" clId="{9B55B3A8-0C10-46F7-890F-ACC9AE80DC97}" dt="2019-11-25T13:47:58.053" v="1351" actId="1035"/>
          <ac:cxnSpMkLst>
            <pc:docMk/>
            <pc:sldMk cId="4086436799" sldId="4154"/>
            <ac:cxnSpMk id="46" creationId="{52FEE8FA-97E9-4ED4-BB06-9D269E7B5F18}"/>
          </ac:cxnSpMkLst>
        </pc:cxnChg>
      </pc:sldChg>
      <pc:sldChg chg="addSp modSp add del">
        <pc:chgData name="Syed Misbah Ahmed" userId="b60d97c1-67d9-44bc-9199-a37937022ab6" providerId="ADAL" clId="{9B55B3A8-0C10-46F7-890F-ACC9AE80DC97}" dt="2019-11-25T13:40:01.028" v="849" actId="2696"/>
        <pc:sldMkLst>
          <pc:docMk/>
          <pc:sldMk cId="2723757493" sldId="4155"/>
        </pc:sldMkLst>
        <pc:spChg chg="add mod">
          <ac:chgData name="Syed Misbah Ahmed" userId="b60d97c1-67d9-44bc-9199-a37937022ab6" providerId="ADAL" clId="{9B55B3A8-0C10-46F7-890F-ACC9AE80DC97}" dt="2019-11-25T12:44:20.417" v="152" actId="20577"/>
          <ac:spMkLst>
            <pc:docMk/>
            <pc:sldMk cId="2723757493" sldId="4155"/>
            <ac:spMk id="2" creationId="{0875B48C-4688-4FFD-9644-358B9FC43956}"/>
          </ac:spMkLst>
        </pc:spChg>
      </pc:sldChg>
      <pc:sldChg chg="addSp delSp modSp add del modAnim">
        <pc:chgData name="Syed Misbah Ahmed" userId="b60d97c1-67d9-44bc-9199-a37937022ab6" providerId="ADAL" clId="{9B55B3A8-0C10-46F7-890F-ACC9AE80DC97}" dt="2019-11-25T13:29:04.021" v="312" actId="2696"/>
        <pc:sldMkLst>
          <pc:docMk/>
          <pc:sldMk cId="3394680225" sldId="4156"/>
        </pc:sldMkLst>
        <pc:spChg chg="mod">
          <ac:chgData name="Syed Misbah Ahmed" userId="b60d97c1-67d9-44bc-9199-a37937022ab6" providerId="ADAL" clId="{9B55B3A8-0C10-46F7-890F-ACC9AE80DC97}" dt="2019-11-25T12:51:55.992" v="166" actId="20577"/>
          <ac:spMkLst>
            <pc:docMk/>
            <pc:sldMk cId="3394680225" sldId="4156"/>
            <ac:spMk id="2" creationId="{3047A962-83F2-42D6-823F-6A49A2A1073A}"/>
          </ac:spMkLst>
        </pc:spChg>
        <pc:spChg chg="del">
          <ac:chgData name="Syed Misbah Ahmed" userId="b60d97c1-67d9-44bc-9199-a37937022ab6" providerId="ADAL" clId="{9B55B3A8-0C10-46F7-890F-ACC9AE80DC97}" dt="2019-11-25T12:51:58.606" v="167" actId="478"/>
          <ac:spMkLst>
            <pc:docMk/>
            <pc:sldMk cId="3394680225" sldId="4156"/>
            <ac:spMk id="3" creationId="{02723A93-94CB-484F-9E2B-C77DE99865FD}"/>
          </ac:spMkLst>
        </pc:spChg>
        <pc:spChg chg="add del mod">
          <ac:chgData name="Syed Misbah Ahmed" userId="b60d97c1-67d9-44bc-9199-a37937022ab6" providerId="ADAL" clId="{9B55B3A8-0C10-46F7-890F-ACC9AE80DC97}" dt="2019-11-25T12:52:07.346" v="170" actId="478"/>
          <ac:spMkLst>
            <pc:docMk/>
            <pc:sldMk cId="3394680225" sldId="4156"/>
            <ac:spMk id="6" creationId="{52D5DDE9-39FA-485D-A21E-3C9C2946985D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10" creationId="{0BB77C0C-DF8B-4561-BD25-640BB0E3B9CB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14" creationId="{942B9F0E-E10C-45BB-AB20-FF67127E73DE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18" creationId="{34CF7199-D781-4297-8379-4B96B79FAC48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22" creationId="{1063E922-5733-4E3A-8F01-C5D2B8879B7B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23" creationId="{73D4DAB1-7E85-42F6-8CC8-08BD55017E6B}"/>
          </ac:spMkLst>
        </pc:spChg>
        <pc:spChg chg="add mod">
          <ac:chgData name="Syed Misbah Ahmed" userId="b60d97c1-67d9-44bc-9199-a37937022ab6" providerId="ADAL" clId="{9B55B3A8-0C10-46F7-890F-ACC9AE80DC97}" dt="2019-11-25T13:22:23.973" v="231" actId="20577"/>
          <ac:spMkLst>
            <pc:docMk/>
            <pc:sldMk cId="3394680225" sldId="4156"/>
            <ac:spMk id="24" creationId="{19754852-43BC-4F7A-BB7F-9B57FF03C35B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25" creationId="{2692A9BA-C0C9-49BF-9CD4-2C59D49A70FE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26" creationId="{A16FFED0-0FDE-4E33-B547-27C4DF763FBB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27" creationId="{B2AAD590-625C-4F34-B810-BA778F454FB1}"/>
          </ac:spMkLst>
        </pc:spChg>
        <pc:spChg chg="add mod">
          <ac:chgData name="Syed Misbah Ahmed" userId="b60d97c1-67d9-44bc-9199-a37937022ab6" providerId="ADAL" clId="{9B55B3A8-0C10-46F7-890F-ACC9AE80DC97}" dt="2019-11-25T13:23:02.257" v="251" actId="20577"/>
          <ac:spMkLst>
            <pc:docMk/>
            <pc:sldMk cId="3394680225" sldId="4156"/>
            <ac:spMk id="28" creationId="{C2A26E34-A4B9-4BC0-8B21-5B1811585625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29" creationId="{99AE53F4-B4EF-47CE-B204-808A761C3E7A}"/>
          </ac:spMkLst>
        </pc:spChg>
        <pc:spChg chg="add mod">
          <ac:chgData name="Syed Misbah Ahmed" userId="b60d97c1-67d9-44bc-9199-a37937022ab6" providerId="ADAL" clId="{9B55B3A8-0C10-46F7-890F-ACC9AE80DC97}" dt="2019-11-25T13:22:28.368" v="235" actId="20577"/>
          <ac:spMkLst>
            <pc:docMk/>
            <pc:sldMk cId="3394680225" sldId="4156"/>
            <ac:spMk id="30" creationId="{26FD0B8B-2A05-460B-9FEC-0C19B1E8AB00}"/>
          </ac:spMkLst>
        </pc:spChg>
        <pc:spChg chg="add mod">
          <ac:chgData name="Syed Misbah Ahmed" userId="b60d97c1-67d9-44bc-9199-a37937022ab6" providerId="ADAL" clId="{9B55B3A8-0C10-46F7-890F-ACC9AE80DC97}" dt="2019-11-25T13:05:54.160" v="200" actId="164"/>
          <ac:spMkLst>
            <pc:docMk/>
            <pc:sldMk cId="3394680225" sldId="4156"/>
            <ac:spMk id="31" creationId="{27980C15-817B-48E3-8D05-C53E4BE19498}"/>
          </ac:spMkLst>
        </pc:spChg>
        <pc:grpChg chg="add mod">
          <ac:chgData name="Syed Misbah Ahmed" userId="b60d97c1-67d9-44bc-9199-a37937022ab6" providerId="ADAL" clId="{9B55B3A8-0C10-46F7-890F-ACC9AE80DC97}" dt="2019-11-25T13:05:54.160" v="200" actId="164"/>
          <ac:grpSpMkLst>
            <pc:docMk/>
            <pc:sldMk cId="3394680225" sldId="4156"/>
            <ac:grpSpMk id="7" creationId="{7BF873ED-2AE6-4ABE-8576-5B6103678791}"/>
          </ac:grpSpMkLst>
        </pc:grpChg>
        <pc:grpChg chg="add mod">
          <ac:chgData name="Syed Misbah Ahmed" userId="b60d97c1-67d9-44bc-9199-a37937022ab6" providerId="ADAL" clId="{9B55B3A8-0C10-46F7-890F-ACC9AE80DC97}" dt="2019-11-25T13:05:54.160" v="200" actId="164"/>
          <ac:grpSpMkLst>
            <pc:docMk/>
            <pc:sldMk cId="3394680225" sldId="4156"/>
            <ac:grpSpMk id="11" creationId="{181158B2-4827-42DE-940E-6ECC8F31B863}"/>
          </ac:grpSpMkLst>
        </pc:grpChg>
        <pc:grpChg chg="add mod">
          <ac:chgData name="Syed Misbah Ahmed" userId="b60d97c1-67d9-44bc-9199-a37937022ab6" providerId="ADAL" clId="{9B55B3A8-0C10-46F7-890F-ACC9AE80DC97}" dt="2019-11-25T13:05:54.160" v="200" actId="164"/>
          <ac:grpSpMkLst>
            <pc:docMk/>
            <pc:sldMk cId="3394680225" sldId="4156"/>
            <ac:grpSpMk id="15" creationId="{848F5C40-7E35-47DB-B5B7-9685A3F7F095}"/>
          </ac:grpSpMkLst>
        </pc:grpChg>
        <pc:grpChg chg="add mod">
          <ac:chgData name="Syed Misbah Ahmed" userId="b60d97c1-67d9-44bc-9199-a37937022ab6" providerId="ADAL" clId="{9B55B3A8-0C10-46F7-890F-ACC9AE80DC97}" dt="2019-11-25T13:05:54.160" v="200" actId="164"/>
          <ac:grpSpMkLst>
            <pc:docMk/>
            <pc:sldMk cId="3394680225" sldId="4156"/>
            <ac:grpSpMk id="19" creationId="{7A2FC361-8891-421C-863C-BC397118D4B0}"/>
          </ac:grpSpMkLst>
        </pc:grpChg>
        <pc:grpChg chg="add mod">
          <ac:chgData name="Syed Misbah Ahmed" userId="b60d97c1-67d9-44bc-9199-a37937022ab6" providerId="ADAL" clId="{9B55B3A8-0C10-46F7-890F-ACC9AE80DC97}" dt="2019-11-25T13:05:54.160" v="200" actId="164"/>
          <ac:grpSpMkLst>
            <pc:docMk/>
            <pc:sldMk cId="3394680225" sldId="4156"/>
            <ac:grpSpMk id="32" creationId="{F8461522-8F8C-44F5-BCAD-9F61E261D0FA}"/>
          </ac:grpSpMkLst>
        </pc:grpChg>
        <pc:grpChg chg="add mod">
          <ac:chgData name="Syed Misbah Ahmed" userId="b60d97c1-67d9-44bc-9199-a37937022ab6" providerId="ADAL" clId="{9B55B3A8-0C10-46F7-890F-ACC9AE80DC97}" dt="2019-11-25T13:05:54.160" v="200" actId="164"/>
          <ac:grpSpMkLst>
            <pc:docMk/>
            <pc:sldMk cId="3394680225" sldId="4156"/>
            <ac:grpSpMk id="35" creationId="{5019B40E-DF32-4E5F-8B59-48D8220BF0C5}"/>
          </ac:grpSpMkLst>
        </pc:grpChg>
        <pc:grpChg chg="add mod">
          <ac:chgData name="Syed Misbah Ahmed" userId="b60d97c1-67d9-44bc-9199-a37937022ab6" providerId="ADAL" clId="{9B55B3A8-0C10-46F7-890F-ACC9AE80DC97}" dt="2019-11-25T13:05:54.160" v="200" actId="164"/>
          <ac:grpSpMkLst>
            <pc:docMk/>
            <pc:sldMk cId="3394680225" sldId="4156"/>
            <ac:grpSpMk id="38" creationId="{0CE615F2-58F0-4291-979C-B3F395EC40BF}"/>
          </ac:grpSpMkLst>
        </pc:grpChg>
        <pc:grpChg chg="add mod">
          <ac:chgData name="Syed Misbah Ahmed" userId="b60d97c1-67d9-44bc-9199-a37937022ab6" providerId="ADAL" clId="{9B55B3A8-0C10-46F7-890F-ACC9AE80DC97}" dt="2019-11-25T13:05:54.160" v="200" actId="164"/>
          <ac:grpSpMkLst>
            <pc:docMk/>
            <pc:sldMk cId="3394680225" sldId="4156"/>
            <ac:grpSpMk id="41" creationId="{0AD388B3-E14B-42B3-A5DA-AA352108A0A5}"/>
          </ac:grpSpMkLst>
        </pc:grpChg>
        <pc:grpChg chg="add mod">
          <ac:chgData name="Syed Misbah Ahmed" userId="b60d97c1-67d9-44bc-9199-a37937022ab6" providerId="ADAL" clId="{9B55B3A8-0C10-46F7-890F-ACC9AE80DC97}" dt="2019-11-25T13:22:59.780" v="236" actId="20577"/>
          <ac:grpSpMkLst>
            <pc:docMk/>
            <pc:sldMk cId="3394680225" sldId="4156"/>
            <ac:grpSpMk id="44" creationId="{956E6EFD-655A-4039-8EF8-3F602A5828C6}"/>
          </ac:grpSpMkLst>
        </pc:grpChg>
      </pc:sldChg>
      <pc:sldChg chg="addSp delSp modSp add del ord addAnim delAnim modAnim">
        <pc:chgData name="Syed Misbah Ahmed" userId="b60d97c1-67d9-44bc-9199-a37937022ab6" providerId="ADAL" clId="{9B55B3A8-0C10-46F7-890F-ACC9AE80DC97}" dt="2019-11-25T14:29:25.456" v="3815" actId="1076"/>
        <pc:sldMkLst>
          <pc:docMk/>
          <pc:sldMk cId="2486207161" sldId="4157"/>
        </pc:sldMkLst>
        <pc:spChg chg="del">
          <ac:chgData name="Syed Misbah Ahmed" userId="b60d97c1-67d9-44bc-9199-a37937022ab6" providerId="ADAL" clId="{9B55B3A8-0C10-46F7-890F-ACC9AE80DC97}" dt="2019-11-25T13:40:19.366" v="885" actId="478"/>
          <ac:spMkLst>
            <pc:docMk/>
            <pc:sldMk cId="2486207161" sldId="4157"/>
            <ac:spMk id="2" creationId="{88D4B9CA-A502-4B9E-96D0-0475673814B1}"/>
          </ac:spMkLst>
        </pc:spChg>
        <pc:spChg chg="del">
          <ac:chgData name="Syed Misbah Ahmed" userId="b60d97c1-67d9-44bc-9199-a37937022ab6" providerId="ADAL" clId="{9B55B3A8-0C10-46F7-890F-ACC9AE80DC97}" dt="2019-11-25T13:27:04.905" v="253" actId="478"/>
          <ac:spMkLst>
            <pc:docMk/>
            <pc:sldMk cId="2486207161" sldId="4157"/>
            <ac:spMk id="3" creationId="{08941E5A-C169-4A96-9F32-477E76EA6FD8}"/>
          </ac:spMkLst>
        </pc:spChg>
        <pc:spChg chg="add mod">
          <ac:chgData name="Syed Misbah Ahmed" userId="b60d97c1-67d9-44bc-9199-a37937022ab6" providerId="ADAL" clId="{9B55B3A8-0C10-46F7-890F-ACC9AE80DC97}" dt="2019-11-25T13:27:16.434" v="255" actId="1076"/>
          <ac:spMkLst>
            <pc:docMk/>
            <pc:sldMk cId="2486207161" sldId="4157"/>
            <ac:spMk id="6" creationId="{2266ED16-9C15-426D-841C-BAC1EFA4ECA3}"/>
          </ac:spMkLst>
        </pc:spChg>
        <pc:spChg chg="add del mod topLvl">
          <ac:chgData name="Syed Misbah Ahmed" userId="b60d97c1-67d9-44bc-9199-a37937022ab6" providerId="ADAL" clId="{9B55B3A8-0C10-46F7-890F-ACC9AE80DC97}" dt="2019-11-25T13:43:09.820" v="895" actId="478"/>
          <ac:spMkLst>
            <pc:docMk/>
            <pc:sldMk cId="2486207161" sldId="4157"/>
            <ac:spMk id="17" creationId="{57A89605-7B20-4CEC-AC1D-9575334D8EEA}"/>
          </ac:spMkLst>
        </pc:spChg>
        <pc:spChg chg="del mod topLvl">
          <ac:chgData name="Syed Misbah Ahmed" userId="b60d97c1-67d9-44bc-9199-a37937022ab6" providerId="ADAL" clId="{9B55B3A8-0C10-46F7-890F-ACC9AE80DC97}" dt="2019-11-25T13:43:09.820" v="895" actId="478"/>
          <ac:spMkLst>
            <pc:docMk/>
            <pc:sldMk cId="2486207161" sldId="4157"/>
            <ac:spMk id="18" creationId="{BD620C98-654F-4910-B1D3-B405AB797AB9}"/>
          </ac:spMkLst>
        </pc:spChg>
        <pc:spChg chg="mod">
          <ac:chgData name="Syed Misbah Ahmed" userId="b60d97c1-67d9-44bc-9199-a37937022ab6" providerId="ADAL" clId="{9B55B3A8-0C10-46F7-890F-ACC9AE80DC97}" dt="2019-11-25T13:38:35.876" v="673" actId="1076"/>
          <ac:spMkLst>
            <pc:docMk/>
            <pc:sldMk cId="2486207161" sldId="4157"/>
            <ac:spMk id="20" creationId="{89457A45-6E7A-4B99-A5D8-140598854F52}"/>
          </ac:spMkLst>
        </pc:spChg>
        <pc:spChg chg="mod">
          <ac:chgData name="Syed Misbah Ahmed" userId="b60d97c1-67d9-44bc-9199-a37937022ab6" providerId="ADAL" clId="{9B55B3A8-0C10-46F7-890F-ACC9AE80DC97}" dt="2019-11-25T14:18:46.760" v="3564" actId="20577"/>
          <ac:spMkLst>
            <pc:docMk/>
            <pc:sldMk cId="2486207161" sldId="4157"/>
            <ac:spMk id="21" creationId="{FE779BA4-FB0E-46AE-90DF-D6EE0FB6922E}"/>
          </ac:spMkLst>
        </pc:spChg>
        <pc:spChg chg="mod">
          <ac:chgData name="Syed Misbah Ahmed" userId="b60d97c1-67d9-44bc-9199-a37937022ab6" providerId="ADAL" clId="{9B55B3A8-0C10-46F7-890F-ACC9AE80DC97}" dt="2019-11-25T13:27:51.946" v="309" actId="20577"/>
          <ac:spMkLst>
            <pc:docMk/>
            <pc:sldMk cId="2486207161" sldId="4157"/>
            <ac:spMk id="23" creationId="{A96254B0-47E2-486F-A60E-1C8EF87C55A0}"/>
          </ac:spMkLst>
        </pc:spChg>
        <pc:spChg chg="mod">
          <ac:chgData name="Syed Misbah Ahmed" userId="b60d97c1-67d9-44bc-9199-a37937022ab6" providerId="ADAL" clId="{9B55B3A8-0C10-46F7-890F-ACC9AE80DC97}" dt="2019-11-25T14:23:03.304" v="3682" actId="1035"/>
          <ac:spMkLst>
            <pc:docMk/>
            <pc:sldMk cId="2486207161" sldId="4157"/>
            <ac:spMk id="24" creationId="{39F4FACE-3CE9-4F8C-B45E-52A8ACF1451F}"/>
          </ac:spMkLst>
        </pc:spChg>
        <pc:spChg chg="mod">
          <ac:chgData name="Syed Misbah Ahmed" userId="b60d97c1-67d9-44bc-9199-a37937022ab6" providerId="ADAL" clId="{9B55B3A8-0C10-46F7-890F-ACC9AE80DC97}" dt="2019-11-25T13:39:33.352" v="833" actId="1076"/>
          <ac:spMkLst>
            <pc:docMk/>
            <pc:sldMk cId="2486207161" sldId="4157"/>
            <ac:spMk id="26" creationId="{F650B8EC-10C4-4A8D-9FC4-DB58ED2EF798}"/>
          </ac:spMkLst>
        </pc:spChg>
        <pc:spChg chg="mod">
          <ac:chgData name="Syed Misbah Ahmed" userId="b60d97c1-67d9-44bc-9199-a37937022ab6" providerId="ADAL" clId="{9B55B3A8-0C10-46F7-890F-ACC9AE80DC97}" dt="2019-11-25T14:29:25.456" v="3815" actId="1076"/>
          <ac:spMkLst>
            <pc:docMk/>
            <pc:sldMk cId="2486207161" sldId="4157"/>
            <ac:spMk id="27" creationId="{1731D28B-E320-415B-A53E-B41ACD71CB4D}"/>
          </ac:spMkLst>
        </pc:spChg>
        <pc:spChg chg="add mod">
          <ac:chgData name="Syed Misbah Ahmed" userId="b60d97c1-67d9-44bc-9199-a37937022ab6" providerId="ADAL" clId="{9B55B3A8-0C10-46F7-890F-ACC9AE80DC97}" dt="2019-11-25T13:27:16.434" v="255" actId="1076"/>
          <ac:spMkLst>
            <pc:docMk/>
            <pc:sldMk cId="2486207161" sldId="4157"/>
            <ac:spMk id="35" creationId="{7FC24E12-E60F-49AD-BD24-67FC630A7F48}"/>
          </ac:spMkLst>
        </pc:spChg>
        <pc:spChg chg="add mod">
          <ac:chgData name="Syed Misbah Ahmed" userId="b60d97c1-67d9-44bc-9199-a37937022ab6" providerId="ADAL" clId="{9B55B3A8-0C10-46F7-890F-ACC9AE80DC97}" dt="2019-11-25T13:27:16.434" v="255" actId="1076"/>
          <ac:spMkLst>
            <pc:docMk/>
            <pc:sldMk cId="2486207161" sldId="4157"/>
            <ac:spMk id="36" creationId="{2C0F5626-C87E-4749-A922-41B8D625DB19}"/>
          </ac:spMkLst>
        </pc:spChg>
        <pc:spChg chg="add mod">
          <ac:chgData name="Syed Misbah Ahmed" userId="b60d97c1-67d9-44bc-9199-a37937022ab6" providerId="ADAL" clId="{9B55B3A8-0C10-46F7-890F-ACC9AE80DC97}" dt="2019-11-25T13:45:02.182" v="1072" actId="20577"/>
          <ac:spMkLst>
            <pc:docMk/>
            <pc:sldMk cId="2486207161" sldId="4157"/>
            <ac:spMk id="37" creationId="{C1F22717-A510-4E5E-8A18-E97371C9D099}"/>
          </ac:spMkLst>
        </pc:spChg>
        <pc:grpChg chg="add mod">
          <ac:chgData name="Syed Misbah Ahmed" userId="b60d97c1-67d9-44bc-9199-a37937022ab6" providerId="ADAL" clId="{9B55B3A8-0C10-46F7-890F-ACC9AE80DC97}" dt="2019-11-25T13:27:16.434" v="255" actId="1076"/>
          <ac:grpSpMkLst>
            <pc:docMk/>
            <pc:sldMk cId="2486207161" sldId="4157"/>
            <ac:grpSpMk id="7" creationId="{1575B929-7CCF-4295-90DD-D7BB989AAC16}"/>
          </ac:grpSpMkLst>
        </pc:grpChg>
        <pc:grpChg chg="add mod">
          <ac:chgData name="Syed Misbah Ahmed" userId="b60d97c1-67d9-44bc-9199-a37937022ab6" providerId="ADAL" clId="{9B55B3A8-0C10-46F7-890F-ACC9AE80DC97}" dt="2019-11-25T13:27:16.434" v="255" actId="1076"/>
          <ac:grpSpMkLst>
            <pc:docMk/>
            <pc:sldMk cId="2486207161" sldId="4157"/>
            <ac:grpSpMk id="10" creationId="{B4587436-C0E4-4B69-ACF8-85316329C7CF}"/>
          </ac:grpSpMkLst>
        </pc:grpChg>
        <pc:grpChg chg="add mod">
          <ac:chgData name="Syed Misbah Ahmed" userId="b60d97c1-67d9-44bc-9199-a37937022ab6" providerId="ADAL" clId="{9B55B3A8-0C10-46F7-890F-ACC9AE80DC97}" dt="2019-11-25T13:27:16.434" v="255" actId="1076"/>
          <ac:grpSpMkLst>
            <pc:docMk/>
            <pc:sldMk cId="2486207161" sldId="4157"/>
            <ac:grpSpMk id="13" creationId="{C13988B7-B51F-4168-8F3F-2B3893F6071A}"/>
          </ac:grpSpMkLst>
        </pc:grpChg>
        <pc:grpChg chg="add del mod">
          <ac:chgData name="Syed Misbah Ahmed" userId="b60d97c1-67d9-44bc-9199-a37937022ab6" providerId="ADAL" clId="{9B55B3A8-0C10-46F7-890F-ACC9AE80DC97}" dt="2019-11-25T13:43:09.820" v="895" actId="478"/>
          <ac:grpSpMkLst>
            <pc:docMk/>
            <pc:sldMk cId="2486207161" sldId="4157"/>
            <ac:grpSpMk id="16" creationId="{B058ECE3-C503-42EA-A919-1F69688B2680}"/>
          </ac:grpSpMkLst>
        </pc:grpChg>
        <pc:grpChg chg="add mod">
          <ac:chgData name="Syed Misbah Ahmed" userId="b60d97c1-67d9-44bc-9199-a37937022ab6" providerId="ADAL" clId="{9B55B3A8-0C10-46F7-890F-ACC9AE80DC97}" dt="2019-11-25T14:11:52.474" v="3060" actId="1076"/>
          <ac:grpSpMkLst>
            <pc:docMk/>
            <pc:sldMk cId="2486207161" sldId="4157"/>
            <ac:grpSpMk id="19" creationId="{A2369421-EF14-41CF-90E9-F6A12B39B522}"/>
          </ac:grpSpMkLst>
        </pc:grpChg>
        <pc:grpChg chg="add mod">
          <ac:chgData name="Syed Misbah Ahmed" userId="b60d97c1-67d9-44bc-9199-a37937022ab6" providerId="ADAL" clId="{9B55B3A8-0C10-46F7-890F-ACC9AE80DC97}" dt="2019-11-25T13:27:16.434" v="255" actId="1076"/>
          <ac:grpSpMkLst>
            <pc:docMk/>
            <pc:sldMk cId="2486207161" sldId="4157"/>
            <ac:grpSpMk id="22" creationId="{47CCA778-7B84-4C7E-9B9B-73F8C33A7F33}"/>
          </ac:grpSpMkLst>
        </pc:grpChg>
        <pc:grpChg chg="add mod">
          <ac:chgData name="Syed Misbah Ahmed" userId="b60d97c1-67d9-44bc-9199-a37937022ab6" providerId="ADAL" clId="{9B55B3A8-0C10-46F7-890F-ACC9AE80DC97}" dt="2019-11-25T13:39:36.659" v="834" actId="1076"/>
          <ac:grpSpMkLst>
            <pc:docMk/>
            <pc:sldMk cId="2486207161" sldId="4157"/>
            <ac:grpSpMk id="25" creationId="{819A4504-287B-43B5-91AF-7D9F16E397E3}"/>
          </ac:grpSpMkLst>
        </pc:grpChg>
        <pc:grpChg chg="add mod">
          <ac:chgData name="Syed Misbah Ahmed" userId="b60d97c1-67d9-44bc-9199-a37937022ab6" providerId="ADAL" clId="{9B55B3A8-0C10-46F7-890F-ACC9AE80DC97}" dt="2019-11-25T13:27:16.434" v="255" actId="1076"/>
          <ac:grpSpMkLst>
            <pc:docMk/>
            <pc:sldMk cId="2486207161" sldId="4157"/>
            <ac:grpSpMk id="28" creationId="{86AC4FD2-8DE9-475F-A8AB-C8F33F1A165C}"/>
          </ac:grpSpMkLst>
        </pc:grpChg>
        <pc:picChg chg="add mod">
          <ac:chgData name="Syed Misbah Ahmed" userId="b60d97c1-67d9-44bc-9199-a37937022ab6" providerId="ADAL" clId="{9B55B3A8-0C10-46F7-890F-ACC9AE80DC97}" dt="2019-11-25T13:43:39.624" v="899" actId="1076"/>
          <ac:picMkLst>
            <pc:docMk/>
            <pc:sldMk cId="2486207161" sldId="4157"/>
            <ac:picMk id="39" creationId="{3C2CF894-2333-4862-88B1-AE59113027A1}"/>
          </ac:picMkLst>
        </pc:picChg>
      </pc:sldChg>
      <pc:sldChg chg="addSp delSp modSp add">
        <pc:chgData name="Syed Misbah Ahmed" userId="b60d97c1-67d9-44bc-9199-a37937022ab6" providerId="ADAL" clId="{9B55B3A8-0C10-46F7-890F-ACC9AE80DC97}" dt="2019-11-25T14:10:23.269" v="3059" actId="1076"/>
        <pc:sldMkLst>
          <pc:docMk/>
          <pc:sldMk cId="3662002440" sldId="4158"/>
        </pc:sldMkLst>
        <pc:spChg chg="mod">
          <ac:chgData name="Syed Misbah Ahmed" userId="b60d97c1-67d9-44bc-9199-a37937022ab6" providerId="ADAL" clId="{9B55B3A8-0C10-46F7-890F-ACC9AE80DC97}" dt="2019-11-25T13:48:30.900" v="1363" actId="20577"/>
          <ac:spMkLst>
            <pc:docMk/>
            <pc:sldMk cId="3662002440" sldId="4158"/>
            <ac:spMk id="6" creationId="{3E7DD296-1357-401D-A0FE-0E98FA058BE2}"/>
          </ac:spMkLst>
        </pc:spChg>
        <pc:spChg chg="mod">
          <ac:chgData name="Syed Misbah Ahmed" userId="b60d97c1-67d9-44bc-9199-a37937022ab6" providerId="ADAL" clId="{9B55B3A8-0C10-46F7-890F-ACC9AE80DC97}" dt="2019-11-25T13:53:50.804" v="1435" actId="20577"/>
          <ac:spMkLst>
            <pc:docMk/>
            <pc:sldMk cId="3662002440" sldId="4158"/>
            <ac:spMk id="7" creationId="{1E7FD4A0-6587-44A4-9B32-87BCD40C5A33}"/>
          </ac:spMkLst>
        </pc:spChg>
        <pc:spChg chg="mod">
          <ac:chgData name="Syed Misbah Ahmed" userId="b60d97c1-67d9-44bc-9199-a37937022ab6" providerId="ADAL" clId="{9B55B3A8-0C10-46F7-890F-ACC9AE80DC97}" dt="2019-11-25T13:56:56.074" v="1471" actId="1076"/>
          <ac:spMkLst>
            <pc:docMk/>
            <pc:sldMk cId="3662002440" sldId="4158"/>
            <ac:spMk id="8" creationId="{5BDC9BA1-9D26-4623-A597-A417E9404DAE}"/>
          </ac:spMkLst>
        </pc:spChg>
        <pc:spChg chg="mod">
          <ac:chgData name="Syed Misbah Ahmed" userId="b60d97c1-67d9-44bc-9199-a37937022ab6" providerId="ADAL" clId="{9B55B3A8-0C10-46F7-890F-ACC9AE80DC97}" dt="2019-11-25T13:53:58.241" v="1448" actId="20577"/>
          <ac:spMkLst>
            <pc:docMk/>
            <pc:sldMk cId="3662002440" sldId="4158"/>
            <ac:spMk id="9" creationId="{8326A5C2-0BCE-4697-B080-E7AEED9ED097}"/>
          </ac:spMkLst>
        </pc:spChg>
        <pc:spChg chg="mod">
          <ac:chgData name="Syed Misbah Ahmed" userId="b60d97c1-67d9-44bc-9199-a37937022ab6" providerId="ADAL" clId="{9B55B3A8-0C10-46F7-890F-ACC9AE80DC97}" dt="2019-11-25T14:05:03.205" v="2438" actId="20577"/>
          <ac:spMkLst>
            <pc:docMk/>
            <pc:sldMk cId="3662002440" sldId="4158"/>
            <ac:spMk id="26" creationId="{D799DF25-6D28-43C0-A987-4CF8AD1802DE}"/>
          </ac:spMkLst>
        </pc:spChg>
        <pc:spChg chg="mod">
          <ac:chgData name="Syed Misbah Ahmed" userId="b60d97c1-67d9-44bc-9199-a37937022ab6" providerId="ADAL" clId="{9B55B3A8-0C10-46F7-890F-ACC9AE80DC97}" dt="2019-11-25T14:07:07.968" v="2718" actId="20577"/>
          <ac:spMkLst>
            <pc:docMk/>
            <pc:sldMk cId="3662002440" sldId="4158"/>
            <ac:spMk id="34" creationId="{C7E3F674-48FB-4C8F-80E3-3942196AE08F}"/>
          </ac:spMkLst>
        </pc:spChg>
        <pc:spChg chg="mod">
          <ac:chgData name="Syed Misbah Ahmed" userId="b60d97c1-67d9-44bc-9199-a37937022ab6" providerId="ADAL" clId="{9B55B3A8-0C10-46F7-890F-ACC9AE80DC97}" dt="2019-11-25T14:01:22.860" v="2124" actId="20577"/>
          <ac:spMkLst>
            <pc:docMk/>
            <pc:sldMk cId="3662002440" sldId="4158"/>
            <ac:spMk id="37" creationId="{1FAEE1B5-53FB-4D88-99F7-E7FB54055A47}"/>
          </ac:spMkLst>
        </pc:spChg>
        <pc:spChg chg="mod">
          <ac:chgData name="Syed Misbah Ahmed" userId="b60d97c1-67d9-44bc-9199-a37937022ab6" providerId="ADAL" clId="{9B55B3A8-0C10-46F7-890F-ACC9AE80DC97}" dt="2019-11-25T14:09:40.614" v="2973" actId="20577"/>
          <ac:spMkLst>
            <pc:docMk/>
            <pc:sldMk cId="3662002440" sldId="4158"/>
            <ac:spMk id="38" creationId="{946C879E-79AC-40D5-8BAF-737C430A052D}"/>
          </ac:spMkLst>
        </pc:spChg>
        <pc:spChg chg="mod">
          <ac:chgData name="Syed Misbah Ahmed" userId="b60d97c1-67d9-44bc-9199-a37937022ab6" providerId="ADAL" clId="{9B55B3A8-0C10-46F7-890F-ACC9AE80DC97}" dt="2019-11-25T13:59:46.446" v="1853" actId="20577"/>
          <ac:spMkLst>
            <pc:docMk/>
            <pc:sldMk cId="3662002440" sldId="4158"/>
            <ac:spMk id="39" creationId="{D17741F9-A51C-4331-B7FE-2235167757D0}"/>
          </ac:spMkLst>
        </pc:spChg>
        <pc:spChg chg="mod">
          <ac:chgData name="Syed Misbah Ahmed" userId="b60d97c1-67d9-44bc-9199-a37937022ab6" providerId="ADAL" clId="{9B55B3A8-0C10-46F7-890F-ACC9AE80DC97}" dt="2019-11-25T14:10:23.269" v="3059" actId="1076"/>
          <ac:spMkLst>
            <pc:docMk/>
            <pc:sldMk cId="3662002440" sldId="4158"/>
            <ac:spMk id="41" creationId="{D1E24124-4024-465A-8E9F-5A99513C61D5}"/>
          </ac:spMkLst>
        </pc:spChg>
        <pc:spChg chg="mod">
          <ac:chgData name="Syed Misbah Ahmed" userId="b60d97c1-67d9-44bc-9199-a37937022ab6" providerId="ADAL" clId="{9B55B3A8-0C10-46F7-890F-ACC9AE80DC97}" dt="2019-11-25T14:07:51.720" v="2842" actId="20577"/>
          <ac:spMkLst>
            <pc:docMk/>
            <pc:sldMk cId="3662002440" sldId="4158"/>
            <ac:spMk id="44" creationId="{C8BA51A1-67E7-4ECC-9E0D-5247A4E33987}"/>
          </ac:spMkLst>
        </pc:spChg>
        <pc:spChg chg="mod">
          <ac:chgData name="Syed Misbah Ahmed" userId="b60d97c1-67d9-44bc-9199-a37937022ab6" providerId="ADAL" clId="{9B55B3A8-0C10-46F7-890F-ACC9AE80DC97}" dt="2019-11-25T14:10:18.733" v="3058" actId="1076"/>
          <ac:spMkLst>
            <pc:docMk/>
            <pc:sldMk cId="3662002440" sldId="4158"/>
            <ac:spMk id="45" creationId="{50F70D51-5DCD-4FD0-957C-410112B8B9F0}"/>
          </ac:spMkLst>
        </pc:spChg>
        <pc:spChg chg="mod">
          <ac:chgData name="Syed Misbah Ahmed" userId="b60d97c1-67d9-44bc-9199-a37937022ab6" providerId="ADAL" clId="{9B55B3A8-0C10-46F7-890F-ACC9AE80DC97}" dt="2019-11-25T13:58:05.698" v="1605" actId="20577"/>
          <ac:spMkLst>
            <pc:docMk/>
            <pc:sldMk cId="3662002440" sldId="4158"/>
            <ac:spMk id="51" creationId="{771F3BA3-240A-4373-9B57-BB48E1A00D58}"/>
          </ac:spMkLst>
        </pc:spChg>
        <pc:picChg chg="add mod">
          <ac:chgData name="Syed Misbah Ahmed" userId="b60d97c1-67d9-44bc-9199-a37937022ab6" providerId="ADAL" clId="{9B55B3A8-0C10-46F7-890F-ACC9AE80DC97}" dt="2019-11-25T13:57:16.855" v="1479" actId="207"/>
          <ac:picMkLst>
            <pc:docMk/>
            <pc:sldMk cId="3662002440" sldId="4158"/>
            <ac:picMk id="3" creationId="{A2F646DE-8A19-414C-A34A-387C5656DE4F}"/>
          </ac:picMkLst>
        </pc:picChg>
        <pc:picChg chg="add del mod">
          <ac:chgData name="Syed Misbah Ahmed" userId="b60d97c1-67d9-44bc-9199-a37937022ab6" providerId="ADAL" clId="{9B55B3A8-0C10-46F7-890F-ACC9AE80DC97}" dt="2019-11-25T13:56:20.621" v="1468" actId="478"/>
          <ac:picMkLst>
            <pc:docMk/>
            <pc:sldMk cId="3662002440" sldId="4158"/>
            <ac:picMk id="10" creationId="{3FEFC7E7-5219-442E-9390-090C0CA93204}"/>
          </ac:picMkLst>
        </pc:picChg>
        <pc:picChg chg="add del mod">
          <ac:chgData name="Syed Misbah Ahmed" userId="b60d97c1-67d9-44bc-9199-a37937022ab6" providerId="ADAL" clId="{9B55B3A8-0C10-46F7-890F-ACC9AE80DC97}" dt="2019-11-25T13:56:19.684" v="1467" actId="478"/>
          <ac:picMkLst>
            <pc:docMk/>
            <pc:sldMk cId="3662002440" sldId="4158"/>
            <ac:picMk id="13" creationId="{5280A41A-A905-413A-8649-8BA49BF41F89}"/>
          </ac:picMkLst>
        </pc:picChg>
        <pc:picChg chg="add del mod">
          <ac:chgData name="Syed Misbah Ahmed" userId="b60d97c1-67d9-44bc-9199-a37937022ab6" providerId="ADAL" clId="{9B55B3A8-0C10-46F7-890F-ACC9AE80DC97}" dt="2019-11-25T13:56:19.684" v="1467" actId="478"/>
          <ac:picMkLst>
            <pc:docMk/>
            <pc:sldMk cId="3662002440" sldId="4158"/>
            <ac:picMk id="16" creationId="{92E4798A-56E1-494F-AC12-432C7445746E}"/>
          </ac:picMkLst>
        </pc:picChg>
        <pc:picChg chg="add mod">
          <ac:chgData name="Syed Misbah Ahmed" userId="b60d97c1-67d9-44bc-9199-a37937022ab6" providerId="ADAL" clId="{9B55B3A8-0C10-46F7-890F-ACC9AE80DC97}" dt="2019-11-25T13:57:16.855" v="1479" actId="207"/>
          <ac:picMkLst>
            <pc:docMk/>
            <pc:sldMk cId="3662002440" sldId="4158"/>
            <ac:picMk id="19" creationId="{BFDBDDA3-F778-4363-8DEC-F5EBCE84DBF5}"/>
          </ac:picMkLst>
        </pc:picChg>
        <pc:picChg chg="add mod">
          <ac:chgData name="Syed Misbah Ahmed" userId="b60d97c1-67d9-44bc-9199-a37937022ab6" providerId="ADAL" clId="{9B55B3A8-0C10-46F7-890F-ACC9AE80DC97}" dt="2019-11-25T13:57:16.855" v="1479" actId="207"/>
          <ac:picMkLst>
            <pc:docMk/>
            <pc:sldMk cId="3662002440" sldId="4158"/>
            <ac:picMk id="23" creationId="{5A967340-0477-4DF0-ADCC-A4F6BF21D89D}"/>
          </ac:picMkLst>
        </pc:picChg>
        <pc:picChg chg="del">
          <ac:chgData name="Syed Misbah Ahmed" userId="b60d97c1-67d9-44bc-9199-a37937022ab6" providerId="ADAL" clId="{9B55B3A8-0C10-46F7-890F-ACC9AE80DC97}" dt="2019-11-25T13:54:05.755" v="1451" actId="478"/>
          <ac:picMkLst>
            <pc:docMk/>
            <pc:sldMk cId="3662002440" sldId="4158"/>
            <ac:picMk id="27" creationId="{98B71DDE-1C02-4C62-B68F-FAA10F1A737B}"/>
          </ac:picMkLst>
        </pc:picChg>
        <pc:picChg chg="add mod">
          <ac:chgData name="Syed Misbah Ahmed" userId="b60d97c1-67d9-44bc-9199-a37937022ab6" providerId="ADAL" clId="{9B55B3A8-0C10-46F7-890F-ACC9AE80DC97}" dt="2019-11-25T13:57:16.855" v="1479" actId="207"/>
          <ac:picMkLst>
            <pc:docMk/>
            <pc:sldMk cId="3662002440" sldId="4158"/>
            <ac:picMk id="29" creationId="{B391F7D6-3AF0-45E4-80D8-1A183AAC824B}"/>
          </ac:picMkLst>
        </pc:picChg>
        <pc:picChg chg="add del">
          <ac:chgData name="Syed Misbah Ahmed" userId="b60d97c1-67d9-44bc-9199-a37937022ab6" providerId="ADAL" clId="{9B55B3A8-0C10-46F7-890F-ACC9AE80DC97}" dt="2019-11-25T13:54:04.082" v="1450" actId="478"/>
          <ac:picMkLst>
            <pc:docMk/>
            <pc:sldMk cId="3662002440" sldId="4158"/>
            <ac:picMk id="47" creationId="{6F4B53C1-E4C0-44DE-A292-332C1A5A4C38}"/>
          </ac:picMkLst>
        </pc:picChg>
        <pc:picChg chg="add del">
          <ac:chgData name="Syed Misbah Ahmed" userId="b60d97c1-67d9-44bc-9199-a37937022ab6" providerId="ADAL" clId="{9B55B3A8-0C10-46F7-890F-ACC9AE80DC97}" dt="2019-11-25T13:54:02.315" v="1449" actId="478"/>
          <ac:picMkLst>
            <pc:docMk/>
            <pc:sldMk cId="3662002440" sldId="4158"/>
            <ac:picMk id="49" creationId="{32A30A47-E367-42B6-A3B1-79499DFA0832}"/>
          </ac:picMkLst>
        </pc:picChg>
        <pc:picChg chg="add del">
          <ac:chgData name="Syed Misbah Ahmed" userId="b60d97c1-67d9-44bc-9199-a37937022ab6" providerId="ADAL" clId="{9B55B3A8-0C10-46F7-890F-ACC9AE80DC97}" dt="2019-11-25T13:53:42.328" v="1427" actId="478"/>
          <ac:picMkLst>
            <pc:docMk/>
            <pc:sldMk cId="3662002440" sldId="4158"/>
            <ac:picMk id="10242" creationId="{D56F951B-F2F9-414D-AAF9-81F499204796}"/>
          </ac:picMkLst>
        </pc:picChg>
      </pc:sldChg>
      <pc:sldMasterChg chg="del delSldLayout">
        <pc:chgData name="Syed Misbah Ahmed" userId="b60d97c1-67d9-44bc-9199-a37937022ab6" providerId="ADAL" clId="{9B55B3A8-0C10-46F7-890F-ACC9AE80DC97}" dt="2019-11-25T13:40:01.761" v="869" actId="2696"/>
        <pc:sldMasterMkLst>
          <pc:docMk/>
          <pc:sldMasterMk cId="3363230617" sldId="2147483849"/>
        </pc:sldMasterMkLst>
        <pc:sldLayoutChg chg="del">
          <pc:chgData name="Syed Misbah Ahmed" userId="b60d97c1-67d9-44bc-9199-a37937022ab6" providerId="ADAL" clId="{9B55B3A8-0C10-46F7-890F-ACC9AE80DC97}" dt="2019-11-25T13:40:01.714" v="851" actId="2696"/>
          <pc:sldLayoutMkLst>
            <pc:docMk/>
            <pc:sldMasterMk cId="3363230617" sldId="2147483849"/>
            <pc:sldLayoutMk cId="1525488206" sldId="2147483850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29" v="852" actId="2696"/>
          <pc:sldLayoutMkLst>
            <pc:docMk/>
            <pc:sldMasterMk cId="3363230617" sldId="2147483849"/>
            <pc:sldLayoutMk cId="2781091580" sldId="2147483851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29" v="853" actId="2696"/>
          <pc:sldLayoutMkLst>
            <pc:docMk/>
            <pc:sldMasterMk cId="3363230617" sldId="2147483849"/>
            <pc:sldLayoutMk cId="3394640230" sldId="2147483852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29" v="854" actId="2696"/>
          <pc:sldLayoutMkLst>
            <pc:docMk/>
            <pc:sldMasterMk cId="3363230617" sldId="2147483849"/>
            <pc:sldLayoutMk cId="2881360116" sldId="2147483853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29" v="855" actId="2696"/>
          <pc:sldLayoutMkLst>
            <pc:docMk/>
            <pc:sldMasterMk cId="3363230617" sldId="2147483849"/>
            <pc:sldLayoutMk cId="2970123734" sldId="2147483854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29" v="856" actId="2696"/>
          <pc:sldLayoutMkLst>
            <pc:docMk/>
            <pc:sldMasterMk cId="3363230617" sldId="2147483849"/>
            <pc:sldLayoutMk cId="2054021180" sldId="2147483855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29" v="857" actId="2696"/>
          <pc:sldLayoutMkLst>
            <pc:docMk/>
            <pc:sldMasterMk cId="3363230617" sldId="2147483849"/>
            <pc:sldLayoutMk cId="4238887237" sldId="2147483856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29" v="858" actId="2696"/>
          <pc:sldLayoutMkLst>
            <pc:docMk/>
            <pc:sldMasterMk cId="3363230617" sldId="2147483849"/>
            <pc:sldLayoutMk cId="3609045063" sldId="2147483857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45" v="859" actId="2696"/>
          <pc:sldLayoutMkLst>
            <pc:docMk/>
            <pc:sldMasterMk cId="3363230617" sldId="2147483849"/>
            <pc:sldLayoutMk cId="4129603211" sldId="2147483858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45" v="860" actId="2696"/>
          <pc:sldLayoutMkLst>
            <pc:docMk/>
            <pc:sldMasterMk cId="3363230617" sldId="2147483849"/>
            <pc:sldLayoutMk cId="1422158871" sldId="2147483859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45" v="861" actId="2696"/>
          <pc:sldLayoutMkLst>
            <pc:docMk/>
            <pc:sldMasterMk cId="3363230617" sldId="2147483849"/>
            <pc:sldLayoutMk cId="1864543704" sldId="2147483860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45" v="862" actId="2696"/>
          <pc:sldLayoutMkLst>
            <pc:docMk/>
            <pc:sldMasterMk cId="3363230617" sldId="2147483849"/>
            <pc:sldLayoutMk cId="4038388952" sldId="2147483861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45" v="863" actId="2696"/>
          <pc:sldLayoutMkLst>
            <pc:docMk/>
            <pc:sldMasterMk cId="3363230617" sldId="2147483849"/>
            <pc:sldLayoutMk cId="3137116615" sldId="2147483862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61" v="864" actId="2696"/>
          <pc:sldLayoutMkLst>
            <pc:docMk/>
            <pc:sldMasterMk cId="3363230617" sldId="2147483849"/>
            <pc:sldLayoutMk cId="4104744888" sldId="2147483863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61" v="865" actId="2696"/>
          <pc:sldLayoutMkLst>
            <pc:docMk/>
            <pc:sldMasterMk cId="3363230617" sldId="2147483849"/>
            <pc:sldLayoutMk cId="1448124108" sldId="2147483864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61" v="866" actId="2696"/>
          <pc:sldLayoutMkLst>
            <pc:docMk/>
            <pc:sldMasterMk cId="3363230617" sldId="2147483849"/>
            <pc:sldLayoutMk cId="2350897268" sldId="2147483865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61" v="867" actId="2696"/>
          <pc:sldLayoutMkLst>
            <pc:docMk/>
            <pc:sldMasterMk cId="3363230617" sldId="2147483849"/>
            <pc:sldLayoutMk cId="3598278877" sldId="2147483866"/>
          </pc:sldLayoutMkLst>
        </pc:sldLayoutChg>
        <pc:sldLayoutChg chg="del">
          <pc:chgData name="Syed Misbah Ahmed" userId="b60d97c1-67d9-44bc-9199-a37937022ab6" providerId="ADAL" clId="{9B55B3A8-0C10-46F7-890F-ACC9AE80DC97}" dt="2019-11-25T13:40:01.761" v="868" actId="2696"/>
          <pc:sldLayoutMkLst>
            <pc:docMk/>
            <pc:sldMasterMk cId="3363230617" sldId="2147483849"/>
            <pc:sldLayoutMk cId="1941059183" sldId="2147483867"/>
          </pc:sldLayoutMkLst>
        </pc:sldLayoutChg>
      </pc:sldMasterChg>
    </pc:docChg>
  </pc:docChgLst>
  <pc:docChgLst>
    <pc:chgData name="Nareshkumar Chandrahasan Senthilkumar" userId="94e27b3e-23d3-4a66-96b2-654caa749964" providerId="ADAL" clId="{C328D299-2930-4614-880D-59887667E869}"/>
    <pc:docChg chg="custSel addSld delSld modSld">
      <pc:chgData name="Nareshkumar Chandrahasan Senthilkumar" userId="94e27b3e-23d3-4a66-96b2-654caa749964" providerId="ADAL" clId="{C328D299-2930-4614-880D-59887667E869}" dt="2019-11-05T13:54:29.925" v="325" actId="113"/>
      <pc:docMkLst>
        <pc:docMk/>
      </pc:docMkLst>
      <pc:sldChg chg="modSp">
        <pc:chgData name="Nareshkumar Chandrahasan Senthilkumar" userId="94e27b3e-23d3-4a66-96b2-654caa749964" providerId="ADAL" clId="{C328D299-2930-4614-880D-59887667E869}" dt="2019-11-05T13:53:18.747" v="307" actId="113"/>
        <pc:sldMkLst>
          <pc:docMk/>
          <pc:sldMk cId="1536301184" sldId="2217"/>
        </pc:sldMkLst>
        <pc:spChg chg="mod">
          <ac:chgData name="Nareshkumar Chandrahasan Senthilkumar" userId="94e27b3e-23d3-4a66-96b2-654caa749964" providerId="ADAL" clId="{C328D299-2930-4614-880D-59887667E869}" dt="2019-11-05T13:53:18.747" v="307" actId="113"/>
          <ac:spMkLst>
            <pc:docMk/>
            <pc:sldMk cId="1536301184" sldId="2217"/>
            <ac:spMk id="19" creationId="{1ED60644-453A-4872-86BA-7B618A2A0FA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445425-C3F1-E445-8EDE-14B714D5165D}" type="datetimeFigureOut">
              <a:rPr lang="en-US" smtClean="0"/>
              <a:t>11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7A19CE-A3AE-B34B-87A1-7B0577F695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8442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99C16E-0905-4510-A8DE-DA1F35E49ED7}" type="datetimeFigureOut">
              <a:rPr lang="en-GB" smtClean="0"/>
              <a:t>25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B59AA8-EB5A-4DA6-A058-16F34B990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6030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iscussion Points:</a:t>
            </a:r>
          </a:p>
          <a:p>
            <a:endParaRPr lang="en-US"/>
          </a:p>
          <a:p>
            <a:pPr marL="228600" indent="-228600">
              <a:buAutoNum type="arabicPeriod"/>
            </a:pPr>
            <a:r>
              <a:rPr lang="en-US"/>
              <a:t>NL Data</a:t>
            </a:r>
          </a:p>
          <a:p>
            <a:pPr marL="228600" indent="-228600">
              <a:buAutoNum type="arabicPeriod"/>
            </a:pPr>
            <a:r>
              <a:rPr lang="en-US"/>
              <a:t>MediaCom Data</a:t>
            </a:r>
          </a:p>
          <a:p>
            <a:pPr marL="228600" indent="-228600">
              <a:buAutoNum type="arabicPeriod"/>
            </a:pPr>
            <a:r>
              <a:rPr lang="en-US"/>
              <a:t>AOP Methodology and Scope</a:t>
            </a:r>
          </a:p>
          <a:p>
            <a:pPr marL="228600" indent="-228600">
              <a:buAutoNum type="arabicPeriod"/>
            </a:pPr>
            <a:r>
              <a:rPr lang="en-US"/>
              <a:t>Data access – DBP Team</a:t>
            </a:r>
          </a:p>
          <a:p>
            <a:pPr marL="228600" indent="-228600">
              <a:buAutoNum type="arabicPeriod"/>
            </a:pPr>
            <a:r>
              <a:rPr lang="en-US"/>
              <a:t>Weekly Tracker Data Upload</a:t>
            </a:r>
          </a:p>
          <a:p>
            <a:pPr marL="228600" indent="-228600">
              <a:buAutoNum type="arabicPeriod"/>
            </a:pPr>
            <a:r>
              <a:rPr lang="en-US"/>
              <a:t>Nielsen FTP Creden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B59AA8-EB5A-4DA6-A058-16F34B990A26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42761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3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5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1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3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5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4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7" Type="http://schemas.openxmlformats.org/officeDocument/2006/relationships/image" Target="../media/image40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0.emf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microsoft.com/office/2007/relationships/hdphoto" Target="../media/hdphoto3.wd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microsoft.com/office/2007/relationships/hdphoto" Target="../media/hdphoto4.wdp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Relationship Id="rId4" Type="http://schemas.microsoft.com/office/2007/relationships/hdphoto" Target="../media/hdphoto5.wdp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microsoft.com/office/2007/relationships/hdphoto" Target="../media/hdphoto6.wdp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microsoft.com/office/2007/relationships/hdphoto" Target="../media/hdphoto2.wdp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MWC PROJECTS\MARS INC\4157 Leadership Summit 2014\Interbrand (&amp;) and details\Mars&amp;_logo-01 wt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6713" y="4528458"/>
            <a:ext cx="1481710" cy="491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9" name="Picture 3" descr="D:\MWC PROJECTS\MARS INC\4157 Leadership Summit 2014\assets\Leadership Summit Background Dots dk blue brighter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 flipV="1"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0" y="2405686"/>
            <a:ext cx="9144000" cy="1433286"/>
          </a:xfrm>
          <a:prstGeom prst="rect">
            <a:avLst/>
          </a:prstGeom>
          <a:gradFill flip="none" rotWithShape="1">
            <a:gsLst>
              <a:gs pos="69000">
                <a:schemeClr val="accent2"/>
              </a:gs>
              <a:gs pos="30000">
                <a:schemeClr val="accent2"/>
              </a:gs>
              <a:gs pos="0">
                <a:schemeClr val="accent2">
                  <a:alpha val="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">
          <a:xfrm>
            <a:off x="457200" y="2604575"/>
            <a:ext cx="8229600" cy="1046375"/>
          </a:xfrm>
        </p:spPr>
        <p:txBody>
          <a:bodyPr/>
          <a:lstStyle>
            <a:lvl1pPr algn="ctr">
              <a:defRPr sz="4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Mars Incorp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3835" y="846146"/>
            <a:ext cx="4176331" cy="969351"/>
          </a:xfrm>
          <a:prstGeom prst="rect">
            <a:avLst/>
          </a:prstGeom>
        </p:spPr>
      </p:pic>
      <p:sp>
        <p:nvSpPr>
          <p:cNvPr id="10" name="Text Box 14"/>
          <p:cNvSpPr txBox="1">
            <a:spLocks noChangeArrowheads="1"/>
          </p:cNvSpPr>
          <p:nvPr userDrawn="1"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29063"/>
            <a:ext cx="8229600" cy="4508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baseline="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3213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4" name="Picture 3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46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ind -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t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87690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460" y="4747726"/>
            <a:ext cx="2133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AEF9B590-99B2-3143-93CF-E7CF23699E6C}" type="slidenum">
              <a:rPr lang="en-US" smtClean="0">
                <a:solidFill>
                  <a:srgbClr val="1A0E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1A0E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3147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5"/>
            <a:ext cx="2947988" cy="699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2405686"/>
            <a:ext cx="9144000" cy="1433286"/>
          </a:xfrm>
          <a:prstGeom prst="rect">
            <a:avLst/>
          </a:prstGeom>
          <a:gradFill flip="none" rotWithShape="1">
            <a:gsLst>
              <a:gs pos="69000">
                <a:schemeClr val="accent2"/>
              </a:gs>
              <a:gs pos="30000">
                <a:schemeClr val="accent2"/>
              </a:gs>
              <a:gs pos="0">
                <a:schemeClr val="accent2">
                  <a:alpha val="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">
          <a:xfrm>
            <a:off x="457200" y="2604576"/>
            <a:ext cx="8229600" cy="1046375"/>
          </a:xfrm>
          <a:prstGeom prst="rect">
            <a:avLst/>
          </a:prstGeom>
        </p:spPr>
        <p:txBody>
          <a:bodyPr/>
          <a:lstStyle>
            <a:lvl1pPr algn="ctr">
              <a:defRPr sz="4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Mars Incorp.pn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3836" y="846146"/>
            <a:ext cx="4176331" cy="969351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29064"/>
            <a:ext cx="8229600" cy="4508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baseline="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7815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7D3509-446B-4BC8-B3AB-AD844C32C7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7D3509-446B-4BC8-B3AB-AD844C32C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5"/>
            <a:ext cx="2947988" cy="699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  <p:pic>
        <p:nvPicPr>
          <p:cNvPr id="10" name="Picture 9" descr="colorsFinal-2.png"/>
          <p:cNvPicPr>
            <a:picLocks noChangeAspect="1"/>
          </p:cNvPicPr>
          <p:nvPr userDrawn="1"/>
        </p:nvPicPr>
        <p:blipFill rotWithShape="1">
          <a:blip r:embed="rId7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1" y="4837288"/>
            <a:ext cx="803563" cy="19433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083320"/>
            <a:ext cx="8229600" cy="10463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8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8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7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5"/>
            <a:ext cx="2947988" cy="699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1" y="4837288"/>
            <a:ext cx="803563" cy="19433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083320"/>
            <a:ext cx="8229600" cy="104637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8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0" y="2414785"/>
            <a:ext cx="9144000" cy="313932"/>
          </a:xfrm>
          <a:prstGeom prst="rect">
            <a:avLst/>
          </a:prstGeom>
          <a:solidFill>
            <a:schemeClr val="bg1">
              <a:alpha val="45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457189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59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684" y="7071"/>
            <a:ext cx="8629481" cy="784781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4" indent="-127394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783" indent="-103583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09" indent="-109535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783" marR="0" lvl="2" indent="-103583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09" marR="0" lvl="3" indent="-109535" algn="l" defTabSz="91437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409205" y="4971583"/>
            <a:ext cx="1557709" cy="69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5821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B5F809D-B3E6-4598-A39B-FF958E2B8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592" imgH="588" progId="TCLayout.ActiveDocument.1">
                  <p:embed/>
                </p:oleObj>
              </mc:Choice>
              <mc:Fallback>
                <p:oleObj name="think-cell Slide" r:id="rId4" imgW="592" imgH="58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B5F809D-B3E6-4598-A39B-FF958E2B8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684" y="7071"/>
            <a:ext cx="8629481" cy="784781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390650" y="4933713"/>
            <a:ext cx="488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 userDrawn="1"/>
        </p:nvSpPr>
        <p:spPr bwMode="auto">
          <a:xfrm>
            <a:off x="409205" y="4971583"/>
            <a:ext cx="1557709" cy="69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4413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684" y="7071"/>
            <a:ext cx="8629481" cy="784781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7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4" indent="-127394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25" indent="-134538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783" indent="-103583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09" indent="-109535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4" marR="0" lvl="0" indent="-127394" algn="l" defTabSz="914378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25" marR="0" lvl="1" indent="-134538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783" marR="0" lvl="2" indent="-103583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4" indent="-127394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25" indent="-134538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44" indent="-285743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783" indent="-103583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4" marR="0" lvl="0" indent="-127394" algn="l" defTabSz="914378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25" marR="0" lvl="1" indent="-134538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783" marR="0" lvl="2" indent="-103583" algn="l" defTabSz="91437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09" marR="0" lvl="3" indent="-109535" algn="l" defTabSz="914378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Box 14"/>
          <p:cNvSpPr txBox="1">
            <a:spLocks noChangeArrowheads="1"/>
          </p:cNvSpPr>
          <p:nvPr userDrawn="1"/>
        </p:nvSpPr>
        <p:spPr bwMode="auto">
          <a:xfrm>
            <a:off x="409205" y="4971583"/>
            <a:ext cx="1557709" cy="69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8339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4"/>
          <p:cNvSpPr txBox="1">
            <a:spLocks noChangeArrowheads="1"/>
          </p:cNvSpPr>
          <p:nvPr userDrawn="1"/>
        </p:nvSpPr>
        <p:spPr bwMode="auto">
          <a:xfrm>
            <a:off x="409205" y="4971583"/>
            <a:ext cx="1557709" cy="69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000000">
                    <a:lumMod val="50000"/>
                    <a:lumOff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HIGHLY CONFIDENTIAL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DEC4854-AB65-4512-A9F0-A5DA93672D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942" y="4860293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defTabSz="457189"/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189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2407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6" y="969685"/>
            <a:ext cx="8438320" cy="38217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189687" indent="-189687" algn="l" defTabSz="685534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165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Wizard Char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2031" y="121500"/>
            <a:ext cx="8301046" cy="6237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EA0722A-5E4A-449F-AD50-284FAAC00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942" y="4860293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defTabSz="457189"/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189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85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998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T 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810" y="44192"/>
            <a:ext cx="8824357" cy="72525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129308-378F-4FA4-B563-6B3DA4A994F7}"/>
              </a:ext>
            </a:extLst>
          </p:cNvPr>
          <p:cNvSpPr/>
          <p:nvPr userDrawn="1"/>
        </p:nvSpPr>
        <p:spPr>
          <a:xfrm>
            <a:off x="-632" y="805116"/>
            <a:ext cx="9144632" cy="4336408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 defTabSz="457189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CF009B9-5A93-43C8-9FF0-6F3AE1B41F5A}"/>
              </a:ext>
            </a:extLst>
          </p:cNvPr>
          <p:cNvGrpSpPr/>
          <p:nvPr userDrawn="1"/>
        </p:nvGrpSpPr>
        <p:grpSpPr>
          <a:xfrm>
            <a:off x="0" y="801473"/>
            <a:ext cx="9144000" cy="4342019"/>
            <a:chOff x="0" y="801473"/>
            <a:chExt cx="9144000" cy="433463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B30270C-C994-423D-9718-AB08BFD829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alphaModFix amt="6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2045" t="23863" r="15817" b="26481"/>
            <a:stretch/>
          </p:blipFill>
          <p:spPr>
            <a:xfrm>
              <a:off x="5467186" y="801473"/>
              <a:ext cx="3676814" cy="4332667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9CBFBBB-284D-41B4-AB75-10EA29BEEC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801473"/>
              <a:ext cx="2235902" cy="4334632"/>
            </a:xfrm>
            <a:prstGeom prst="rect">
              <a:avLst/>
            </a:prstGeom>
          </p:spPr>
        </p:pic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49D5379-E196-48B5-B456-1FEE9BB0B38F}"/>
              </a:ext>
            </a:extLst>
          </p:cNvPr>
          <p:cNvSpPr/>
          <p:nvPr userDrawn="1"/>
        </p:nvSpPr>
        <p:spPr>
          <a:xfrm>
            <a:off x="0" y="799366"/>
            <a:ext cx="9144000" cy="4344134"/>
          </a:xfrm>
          <a:prstGeom prst="rect">
            <a:avLst/>
          </a:prstGeom>
          <a:gradFill flip="none" rotWithShape="1">
            <a:gsLst>
              <a:gs pos="55076">
                <a:schemeClr val="bg1"/>
              </a:gs>
              <a:gs pos="78000">
                <a:schemeClr val="bg1">
                  <a:alpha val="57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 defTabSz="457189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D83187-151F-46DD-977C-F8866F1E69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11327" y="4828543"/>
            <a:ext cx="751571" cy="147105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1C5D2B9-6326-46ED-BCAE-D134CB73AB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6651" y="1355107"/>
            <a:ext cx="7935913" cy="13942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887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7231C7-5948-4776-B740-C924FCE744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7231C7-5948-4776-B740-C924FCE74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Box 14"/>
          <p:cNvSpPr txBox="1">
            <a:spLocks noChangeArrowheads="1"/>
          </p:cNvSpPr>
          <p:nvPr userDrawn="1"/>
        </p:nvSpPr>
        <p:spPr bwMode="auto">
          <a:xfrm>
            <a:off x="3098008" y="4906201"/>
            <a:ext cx="2947988" cy="11657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algn="ctr" defTabSz="457166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750">
                <a:solidFill>
                  <a:srgbClr val="FFFFFF">
                    <a:lumMod val="8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18 MARS, INCORPORATED | CONFIDENTIA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4" y="4860294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defTabSz="457166"/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166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5" descr="Mars Incorp.png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39594" y="4819750"/>
            <a:ext cx="771692" cy="179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01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60" t="57655" r="6762"/>
          <a:stretch/>
        </p:blipFill>
        <p:spPr>
          <a:xfrm rot="5400000">
            <a:off x="5578213" y="1655642"/>
            <a:ext cx="5202409" cy="188760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2405686"/>
            <a:ext cx="9144000" cy="2737814"/>
          </a:xfrm>
          <a:prstGeom prst="rect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rgbClr val="000C1A"/>
              </a:gs>
            </a:gsLst>
            <a:lin ang="5400000" scaled="1"/>
          </a:gradFill>
        </p:spPr>
        <p:txBody>
          <a:bodyPr wrap="square" rtlCol="0" anchor="ctr">
            <a:noAutofit/>
          </a:bodyPr>
          <a:lstStyle/>
          <a:p>
            <a:pPr algn="ctr" defTabSz="457154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60" t="57655" r="6762"/>
          <a:stretch/>
        </p:blipFill>
        <p:spPr>
          <a:xfrm rot="16200000" flipH="1">
            <a:off x="-1649317" y="1657400"/>
            <a:ext cx="5202409" cy="188760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217170"/>
            <a:ext cx="9144000" cy="4926616"/>
          </a:xfrm>
          <a:prstGeom prst="rect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rgbClr val="000C1A"/>
              </a:gs>
            </a:gsLst>
            <a:lin ang="5400000" scaled="1"/>
          </a:gradFill>
        </p:spPr>
        <p:txBody>
          <a:bodyPr wrap="square" rtlCol="0" anchor="ctr">
            <a:noAutofit/>
          </a:bodyPr>
          <a:lstStyle/>
          <a:p>
            <a:pPr algn="ctr" defTabSz="457154">
              <a:lnSpc>
                <a:spcPct val="80000"/>
              </a:lnSpc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115482"/>
            <a:ext cx="9144000" cy="1097280"/>
          </a:xfrm>
          <a:prstGeom prst="rect">
            <a:avLst/>
          </a:prstGeom>
          <a:gradFill flip="none" rotWithShape="1">
            <a:gsLst>
              <a:gs pos="69000">
                <a:schemeClr val="accent2"/>
              </a:gs>
              <a:gs pos="30000">
                <a:schemeClr val="accent2"/>
              </a:gs>
              <a:gs pos="0">
                <a:schemeClr val="accent2">
                  <a:alpha val="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419" y="3324566"/>
            <a:ext cx="8250382" cy="64579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33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 cstate="print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63" t="25173" r="5761" b="2517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3531" y="2457737"/>
            <a:ext cx="5212080" cy="626395"/>
          </a:xfrm>
          <a:prstGeom prst="rect">
            <a:avLst/>
          </a:prstGeom>
        </p:spPr>
      </p:pic>
      <p:pic>
        <p:nvPicPr>
          <p:cNvPr id="13" name="Picture 12" descr="Mars Incorp.pn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40039" y="4554717"/>
            <a:ext cx="1440580" cy="334367"/>
          </a:xfrm>
          <a:prstGeom prst="rect">
            <a:avLst/>
          </a:prstGeom>
        </p:spPr>
      </p:pic>
      <p:sp>
        <p:nvSpPr>
          <p:cNvPr id="3" name="Oval 2"/>
          <p:cNvSpPr/>
          <p:nvPr userDrawn="1"/>
        </p:nvSpPr>
        <p:spPr>
          <a:xfrm>
            <a:off x="1130303" y="-863733"/>
            <a:ext cx="6813971" cy="6813971"/>
          </a:xfrm>
          <a:prstGeom prst="ellipse">
            <a:avLst/>
          </a:prstGeom>
          <a:noFill/>
          <a:ln w="76200">
            <a:gradFill>
              <a:gsLst>
                <a:gs pos="74000">
                  <a:srgbClr val="2CA5B1"/>
                </a:gs>
                <a:gs pos="20000">
                  <a:srgbClr val="12A7C5"/>
                </a:gs>
                <a:gs pos="50000">
                  <a:srgbClr val="46A29D"/>
                </a:gs>
              </a:gsLst>
              <a:lin ang="5400000" scaled="1"/>
            </a:gradFill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80000"/>
              </a:lnSpc>
            </a:pPr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663" y="-58909"/>
            <a:ext cx="5779008" cy="2889504"/>
          </a:xfrm>
          <a:prstGeom prst="rect">
            <a:avLst/>
          </a:prstGeom>
        </p:spPr>
      </p:pic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3098008" y="4906201"/>
            <a:ext cx="2947988" cy="11657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algn="ctr" defTabSz="457154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75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17 MARS, INCORPORATED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27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44" y="-15335"/>
            <a:ext cx="8967223" cy="78478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92334"/>
            <a:ext cx="8261350" cy="1451166"/>
          </a:xfrm>
          <a:prstGeom prst="rect">
            <a:avLst/>
          </a:prstGeom>
        </p:spPr>
        <p:txBody>
          <a:bodyPr/>
          <a:lstStyle>
            <a:lvl1pPr marL="227001" indent="-22700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61939" indent="-206365">
              <a:lnSpc>
                <a:spcPct val="85000"/>
              </a:lnSpc>
              <a:spcAft>
                <a:spcPts val="600"/>
              </a:spcAft>
              <a:buClr>
                <a:schemeClr val="bg1"/>
              </a:buClr>
              <a:defRPr sz="18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744502" indent="-163505">
              <a:defRPr lang="en-US" sz="1600" i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88135" indent="0">
              <a:buClr>
                <a:schemeClr val="bg1"/>
              </a:buClr>
              <a:buFont typeface="Arial" panose="020B0604020202020204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141357" indent="-146042"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749" marR="0" lvl="2" indent="-103577" algn="l" defTabSz="914333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664" marR="0" lvl="3" indent="-109529" algn="l" defTabSz="914333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947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44" y="-15335"/>
            <a:ext cx="8967223" cy="78478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8" y="992334"/>
            <a:ext cx="4293277" cy="1451166"/>
          </a:xfrm>
          <a:prstGeom prst="rect">
            <a:avLst/>
          </a:prstGeom>
        </p:spPr>
        <p:txBody>
          <a:bodyPr/>
          <a:lstStyle>
            <a:lvl1pPr marL="227001" indent="-22700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61939" indent="-206365">
              <a:lnSpc>
                <a:spcPct val="85000"/>
              </a:lnSpc>
              <a:spcAft>
                <a:spcPts val="600"/>
              </a:spcAft>
              <a:buClr>
                <a:schemeClr val="bg1"/>
              </a:buClr>
              <a:defRPr sz="18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744502" indent="-163505">
              <a:defRPr lang="en-US" sz="1600" i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88135" indent="0">
              <a:buClr>
                <a:schemeClr val="bg1"/>
              </a:buClr>
              <a:buFont typeface="Arial" panose="020B0604020202020204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141357" indent="-146042"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749" marR="0" lvl="2" indent="-103577" algn="l" defTabSz="914333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664" marR="0" lvl="3" indent="-109529" algn="l" defTabSz="914333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495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44" y="-15335"/>
            <a:ext cx="8967223" cy="78478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781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647"/>
            <a:ext cx="9144000" cy="51435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"/>
            <a:ext cx="9144000" cy="801584"/>
          </a:xfrm>
          <a:prstGeom prst="rect">
            <a:avLst/>
          </a:prstGeom>
          <a:gradFill flip="none" rotWithShape="1">
            <a:gsLst>
              <a:gs pos="69000">
                <a:schemeClr val="accent2">
                  <a:alpha val="25000"/>
                </a:schemeClr>
              </a:gs>
              <a:gs pos="30000">
                <a:schemeClr val="accent2">
                  <a:alpha val="49000"/>
                </a:schemeClr>
              </a:gs>
              <a:gs pos="0">
                <a:schemeClr val="accent2">
                  <a:alpha val="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66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44" y="-15335"/>
            <a:ext cx="8967223" cy="78478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55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15901" y="195264"/>
            <a:ext cx="8784592" cy="432271"/>
          </a:xfrm>
        </p:spPr>
        <p:txBody>
          <a:bodyPr/>
          <a:lstStyle>
            <a:lvl1pPr marL="0" indent="0">
              <a:buNone/>
              <a:defRPr sz="1600" b="1" i="0"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92EFC28-5AFD-4C46-86F9-FF467341A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5942" y="4860293"/>
            <a:ext cx="355997" cy="273844"/>
          </a:xfr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7759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2552AB6-7D21-40BC-AF9E-1B598FC6E74E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 defTabSz="685800"/>
              <a:t>2019-11-25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en-CA">
                <a:solidFill>
                  <a:prstClr val="black">
                    <a:tint val="75000"/>
                  </a:prstClr>
                </a:solidFill>
              </a:rPr>
              <a:t>COPYRIGHT </a:t>
            </a:r>
            <a:r>
              <a:rPr lang="sk-SK">
                <a:solidFill>
                  <a:prstClr val="black">
                    <a:tint val="75000"/>
                  </a:prstClr>
                </a:solidFill>
              </a:rPr>
              <a:t>© 2018 </a:t>
            </a:r>
            <a:r>
              <a:rPr lang="en-CA">
                <a:solidFill>
                  <a:prstClr val="black">
                    <a:tint val="75000"/>
                  </a:prstClr>
                </a:solidFill>
              </a:rPr>
              <a:t>MARS INCORPORATED |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B8A89-AE5B-4A7A-ABF7-B35292E08C3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77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6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647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34390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A20D6FEF-DA60-DC45-9BED-F0393191129B}" type="datetimeFigureOut">
              <a:rPr lang="en-US" smtClean="0"/>
              <a:t>11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F55F5-8149-9B45-821D-39E0728AB0A4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D:\MWC PROJECTS\MARS INC\4157 Leadership Summit 2014\assets\Leadership Summit Background Dots blu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7886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D:\MWC PROJECTS\MARS INC\4157 Leadership Summit 2014\assets\Leadership Summit Background Dots PINK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7" name="Picture 6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797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4" name="Picture 3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71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2839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84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D:\MWC PROJECTS\MARS INC\4157 Leadership Summit 2014\assets\Leadership Summit Background Dots dk blue brigh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 flipV="1"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10" name="Picture 9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0500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230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869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MWC PROJECTS\MARS INC\4157 Leadership Summit 2014\assets\Leadership Summit Background Dots PINK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3482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MWC PROJECTS\MARS INC\4157 Leadership Summit 2014\Interbrand (&amp;) and details\Mars&amp;_logo-01 wt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6713" y="4528458"/>
            <a:ext cx="1481710" cy="491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D:\MWC PROJECTS\MARS INC\4157 Leadership Summit 2014\assets\Leadership Summit Background Dots ls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4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89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4" name="Picture 3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8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280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78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53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35090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A20D6FEF-DA60-DC45-9BED-F0393191129B}" type="datetimeFigureOut">
              <a:rPr lang="en-US" smtClean="0"/>
              <a:t>11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2F55F5-8149-9B45-821D-39E0728AB0A4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D:\MWC PROJECTS\MARS INC\4157 Leadership Summit 2014\assets\Leadership Summit Background Dots ls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7339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713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MWC PROJECTS\MARS INC\4157 Leadership Summit 2014\assets\Leadership Summit Background Dots ls orang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7" name="Picture 6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539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4" name="Picture 3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6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89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7330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02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74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70227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2" descr="D:\MWC PROJECTS\MARS INC\4157 Leadership Summit 2014\assets\Leadership Summit Background Dots ls orang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9123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MWC PROJECTS\MARS INC\4157 Leadership Summit 2014\assets\Leadership Summit Background Dots purpl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8" name="Picture 7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4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reaker o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0" y="-8238"/>
            <a:ext cx="9144000" cy="5140411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9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5A1E64"/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 descr="colorsFinal-2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10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070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8261350" cy="3594100"/>
          </a:xfrm>
          <a:prstGeom prst="rect">
            <a:avLst/>
          </a:prstGeom>
        </p:spPr>
        <p:txBody>
          <a:bodyPr/>
          <a:lstStyle>
            <a:lvl1pPr marL="127397" indent="-127397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Wingdings" pitchFamily="2" charset="2"/>
              <a:buChar char=""/>
              <a:defRPr sz="1600">
                <a:latin typeface="Calibri" panose="020F0502020204030204" pitchFamily="34" charset="0"/>
              </a:defRPr>
            </a:lvl1pPr>
            <a:lvl2pPr>
              <a:lnSpc>
                <a:spcPct val="85000"/>
              </a:lnSpc>
              <a:spcAft>
                <a:spcPts val="600"/>
              </a:spcAft>
              <a:buClr>
                <a:schemeClr val="tx1"/>
              </a:buClr>
              <a:defRPr sz="1400">
                <a:latin typeface="Calibri" panose="020F0502020204030204" pitchFamily="34" charset="0"/>
              </a:defRPr>
            </a:lvl2pPr>
            <a:lvl3pPr marL="685800" indent="-103585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defRPr lang="en-US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989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83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389335" marR="0" lvl="1" indent="-134541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Marsfont" pitchFamily="50" charset="0"/>
              <a:buChar char="–"/>
            </a:pPr>
            <a:r>
              <a:rPr lang="en-US"/>
              <a:t>Second level</a:t>
            </a:r>
          </a:p>
          <a:p>
            <a:pPr marL="685800" marR="0" lvl="2" indent="-103585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</a:pPr>
            <a:r>
              <a:rPr lang="en-US"/>
              <a:t>Third level</a:t>
            </a:r>
          </a:p>
          <a:p>
            <a:pPr marL="897731" marR="0" lvl="3" indent="-109538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itchFamily="34" charset="0"/>
              <a:buChar char="–"/>
              <a:tabLst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553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85941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2" descr="D:\MWC PROJECTS\MARS INC\4157 Leadership Summit 2014\assets\Leadership Summit Background Dots purpl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31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2" name="Round Same Side Corner Rectangle 21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772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411849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6381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49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738694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Down Arrow Callout 17"/>
          <p:cNvSpPr/>
          <p:nvPr userDrawn="1"/>
        </p:nvSpPr>
        <p:spPr bwMode="auto">
          <a:xfrm>
            <a:off x="0" y="0"/>
            <a:ext cx="9144000" cy="2529116"/>
          </a:xfrm>
          <a:prstGeom prst="downArrowCallout">
            <a:avLst>
              <a:gd name="adj1" fmla="val 32676"/>
              <a:gd name="adj2" fmla="val 14109"/>
              <a:gd name="adj3" fmla="val 10498"/>
              <a:gd name="adj4" fmla="val 92638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749377" y="466776"/>
            <a:ext cx="1645246" cy="1644754"/>
          </a:xfrm>
          <a:prstGeom prst="ellips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4256985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1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WW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777805" y="1105463"/>
            <a:ext cx="1425007" cy="1529068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317802" y="1105463"/>
            <a:ext cx="1425007" cy="1529068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3857799" y="1105463"/>
            <a:ext cx="1425007" cy="1529068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401191" y="1105463"/>
            <a:ext cx="1425007" cy="1529068"/>
          </a:xfrm>
          <a:prstGeom prst="rect">
            <a:avLst/>
          </a:prstGeom>
          <a:ln w="19050">
            <a:solidFill>
              <a:schemeClr val="accent4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6941188" y="1105463"/>
            <a:ext cx="1425007" cy="1529068"/>
          </a:xfrm>
          <a:prstGeom prst="rect">
            <a:avLst/>
          </a:prstGeom>
          <a:ln w="19050">
            <a:solidFill>
              <a:schemeClr val="accent5"/>
            </a:solidFill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975209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animBg="1"/>
      <p:bldP spid="46" grpId="0" animBg="1"/>
      <p:bldP spid="47" grpId="0" animBg="1"/>
      <p:bldP spid="48" grpId="0" animBg="1"/>
      <p:bldP spid="49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43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/>
          <p:cNvSpPr>
            <a:spLocks noGrp="1"/>
          </p:cNvSpPr>
          <p:nvPr>
            <p:ph type="body" sz="half" idx="16"/>
          </p:nvPr>
        </p:nvSpPr>
        <p:spPr>
          <a:xfrm>
            <a:off x="867991" y="3001502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67991" y="1472626"/>
            <a:ext cx="1421516" cy="142109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5"/>
          </p:nvPr>
        </p:nvSpPr>
        <p:spPr>
          <a:xfrm>
            <a:off x="727168" y="3414419"/>
            <a:ext cx="1703163" cy="9233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17"/>
          </p:nvPr>
        </p:nvSpPr>
        <p:spPr>
          <a:xfrm>
            <a:off x="2822643" y="3001502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822643" y="1472626"/>
            <a:ext cx="1421516" cy="142109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19"/>
          </p:nvPr>
        </p:nvSpPr>
        <p:spPr>
          <a:xfrm>
            <a:off x="2681820" y="3414419"/>
            <a:ext cx="1703163" cy="9233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Text Placeholder 3"/>
          <p:cNvSpPr>
            <a:spLocks noGrp="1"/>
          </p:cNvSpPr>
          <p:nvPr>
            <p:ph type="body" sz="half" idx="20"/>
          </p:nvPr>
        </p:nvSpPr>
        <p:spPr>
          <a:xfrm>
            <a:off x="4829092" y="3001502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7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4829092" y="1472626"/>
            <a:ext cx="1421516" cy="142109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half" idx="22"/>
          </p:nvPr>
        </p:nvSpPr>
        <p:spPr>
          <a:xfrm>
            <a:off x="4688269" y="3414419"/>
            <a:ext cx="1703163" cy="9233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23"/>
          </p:nvPr>
        </p:nvSpPr>
        <p:spPr>
          <a:xfrm>
            <a:off x="6835350" y="3001502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6835350" y="1472626"/>
            <a:ext cx="1421516" cy="1421092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25"/>
          </p:nvPr>
        </p:nvSpPr>
        <p:spPr>
          <a:xfrm>
            <a:off x="6694527" y="3414419"/>
            <a:ext cx="1703163" cy="9233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992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animBg="1"/>
      <p:bldP spid="3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Line buttom"/>
          <p:cNvCxnSpPr/>
          <p:nvPr userDrawn="1"/>
        </p:nvCxnSpPr>
        <p:spPr>
          <a:xfrm>
            <a:off x="685800" y="2831403"/>
            <a:ext cx="77724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 userDrawn="1"/>
        </p:nvSpPr>
        <p:spPr>
          <a:xfrm>
            <a:off x="1464269" y="2741595"/>
            <a:ext cx="179616" cy="179616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accent1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3460212" y="2740007"/>
            <a:ext cx="179616" cy="179616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accent2">
                  <a:lumMod val="50000"/>
                </a:schemeClr>
              </a:solidFill>
              <a:latin typeface="FontAwesome" pitchFamily="2" charset="0"/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5456155" y="2741595"/>
            <a:ext cx="179616" cy="179616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accent3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452097" y="2741595"/>
            <a:ext cx="179616" cy="179616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0" rtlCol="0" anchor="ctr"/>
          <a:lstStyle/>
          <a:p>
            <a:pPr algn="ctr"/>
            <a:endParaRPr lang="en-US" sz="2400">
              <a:solidFill>
                <a:schemeClr val="accent4">
                  <a:lumMod val="75000"/>
                </a:schemeClr>
              </a:solidFill>
              <a:latin typeface="FontAwesome" pitchFamily="2" charset="0"/>
            </a:endParaRPr>
          </a:p>
        </p:txBody>
      </p:sp>
      <p:sp>
        <p:nvSpPr>
          <p:cNvPr id="19" name="Up Arrow Callout 18"/>
          <p:cNvSpPr/>
          <p:nvPr/>
        </p:nvSpPr>
        <p:spPr>
          <a:xfrm flipV="1">
            <a:off x="2670469" y="1343546"/>
            <a:ext cx="1768646" cy="135884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954616" y="1472626"/>
            <a:ext cx="1177872" cy="1177521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91440" anchor="b"/>
          <a:lstStyle>
            <a:lvl1pPr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16"/>
          </p:nvPr>
        </p:nvSpPr>
        <p:spPr>
          <a:xfrm>
            <a:off x="2844034" y="1426210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0" name="Text Placeholder 3"/>
          <p:cNvSpPr>
            <a:spLocks noGrp="1"/>
          </p:cNvSpPr>
          <p:nvPr>
            <p:ph type="body" sz="half" idx="15"/>
          </p:nvPr>
        </p:nvSpPr>
        <p:spPr>
          <a:xfrm>
            <a:off x="2703211" y="1781675"/>
            <a:ext cx="1703163" cy="6452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Up Arrow Callout 30"/>
          <p:cNvSpPr/>
          <p:nvPr userDrawn="1"/>
        </p:nvSpPr>
        <p:spPr>
          <a:xfrm flipV="1">
            <a:off x="6631804" y="1343546"/>
            <a:ext cx="1768646" cy="135884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7"/>
          </p:nvPr>
        </p:nvSpPr>
        <p:spPr>
          <a:xfrm>
            <a:off x="6805369" y="1426210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18"/>
          </p:nvPr>
        </p:nvSpPr>
        <p:spPr>
          <a:xfrm>
            <a:off x="6664546" y="1779065"/>
            <a:ext cx="1703163" cy="6452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Up Arrow Callout 33"/>
          <p:cNvSpPr/>
          <p:nvPr userDrawn="1"/>
        </p:nvSpPr>
        <p:spPr>
          <a:xfrm>
            <a:off x="666550" y="2997808"/>
            <a:ext cx="1768646" cy="135884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19"/>
          </p:nvPr>
        </p:nvSpPr>
        <p:spPr>
          <a:xfrm>
            <a:off x="840115" y="3258874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6" name="Text Placeholder 3"/>
          <p:cNvSpPr>
            <a:spLocks noGrp="1"/>
          </p:cNvSpPr>
          <p:nvPr>
            <p:ph type="body" sz="half" idx="20"/>
          </p:nvPr>
        </p:nvSpPr>
        <p:spPr>
          <a:xfrm>
            <a:off x="699292" y="3630979"/>
            <a:ext cx="1703163" cy="6452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Up Arrow Callout 36"/>
          <p:cNvSpPr/>
          <p:nvPr userDrawn="1"/>
        </p:nvSpPr>
        <p:spPr>
          <a:xfrm>
            <a:off x="4668082" y="2997808"/>
            <a:ext cx="1768646" cy="1358849"/>
          </a:xfrm>
          <a:prstGeom prst="upArrowCallout">
            <a:avLst>
              <a:gd name="adj1" fmla="val 30842"/>
              <a:gd name="adj2" fmla="val 15421"/>
              <a:gd name="adj3" fmla="val 12155"/>
              <a:gd name="adj4" fmla="val 89716"/>
            </a:avLst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/>
          </a:p>
        </p:txBody>
      </p:sp>
      <p:sp>
        <p:nvSpPr>
          <p:cNvPr id="38" name="Text Placeholder 3"/>
          <p:cNvSpPr>
            <a:spLocks noGrp="1"/>
          </p:cNvSpPr>
          <p:nvPr>
            <p:ph type="body" sz="half" idx="21"/>
          </p:nvPr>
        </p:nvSpPr>
        <p:spPr>
          <a:xfrm>
            <a:off x="4841647" y="3249249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22"/>
          </p:nvPr>
        </p:nvSpPr>
        <p:spPr>
          <a:xfrm>
            <a:off x="4700824" y="3611729"/>
            <a:ext cx="1703163" cy="6452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1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Picture Placeholder 7"/>
          <p:cNvSpPr>
            <a:spLocks noGrp="1"/>
          </p:cNvSpPr>
          <p:nvPr>
            <p:ph type="pic" sz="quarter" idx="23" hasCustomPrompt="1"/>
          </p:nvPr>
        </p:nvSpPr>
        <p:spPr>
          <a:xfrm>
            <a:off x="2950283" y="3031329"/>
            <a:ext cx="1177872" cy="1177521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91440" anchor="b"/>
          <a:lstStyle>
            <a:lvl1pPr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7042777" y="3031329"/>
            <a:ext cx="1177872" cy="1177521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91440" anchor="b"/>
          <a:lstStyle>
            <a:lvl1pPr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4950585" y="1472626"/>
            <a:ext cx="1177872" cy="1177521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91440" anchor="b"/>
          <a:lstStyle>
            <a:lvl1pPr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6" name="Round Same Side Corner Rectangle 45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04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500"/>
                            </p:stCondLst>
                            <p:childTnLst>
                              <p:par>
                                <p:cTn id="6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000"/>
                            </p:stCondLst>
                            <p:childTnLst>
                              <p:par>
                                <p:cTn id="7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500"/>
                            </p:stCondLst>
                            <p:childTnLst>
                              <p:par>
                                <p:cTn id="8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80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8500"/>
                            </p:stCondLst>
                            <p:childTnLst>
                              <p:par>
                                <p:cTn id="9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3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500"/>
                            </p:stCondLst>
                            <p:childTnLst>
                              <p:par>
                                <p:cTn id="10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9" grpId="0" animBg="1"/>
      <p:bldP spid="25" grpId="0" animBg="1"/>
      <p:bldP spid="2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animBg="1"/>
      <p:bldP spid="3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/>
      <p:bldP spid="42" grpId="0" animBg="1"/>
      <p:bldP spid="43" grpId="0" animBg="1"/>
      <p:bldP spid="44" grpId="0"/>
      <p:bldP spid="4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6"/>
          </p:nvPr>
        </p:nvSpPr>
        <p:spPr>
          <a:xfrm>
            <a:off x="1275292" y="3479783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069342" y="1565900"/>
            <a:ext cx="1833416" cy="1832870"/>
          </a:xfrm>
          <a:prstGeom prst="diamond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7"/>
          </p:nvPr>
        </p:nvSpPr>
        <p:spPr>
          <a:xfrm>
            <a:off x="2565267" y="1916565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359591" y="2327170"/>
            <a:ext cx="1833416" cy="1832870"/>
          </a:xfrm>
          <a:prstGeom prst="diamond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3864376" y="3479783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3649840" y="1565900"/>
            <a:ext cx="1833416" cy="1832870"/>
          </a:xfrm>
          <a:prstGeom prst="diamond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3"/>
          </p:nvPr>
        </p:nvSpPr>
        <p:spPr>
          <a:xfrm>
            <a:off x="5155576" y="1916565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4940089" y="2327170"/>
            <a:ext cx="1833416" cy="1832870"/>
          </a:xfrm>
          <a:prstGeom prst="diamond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half" idx="25"/>
          </p:nvPr>
        </p:nvSpPr>
        <p:spPr>
          <a:xfrm>
            <a:off x="6436288" y="3479783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5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230338" y="1565900"/>
            <a:ext cx="1833416" cy="1832870"/>
          </a:xfrm>
          <a:prstGeom prst="diamond">
            <a:avLst/>
          </a:prstGeom>
          <a:ln w="28575">
            <a:solidFill>
              <a:schemeClr val="accent5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064909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2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animBg="1"/>
      <p:bldP spid="2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animBg="1"/>
      <p:bldP spid="4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52497" y="1057375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52498" y="2420957"/>
            <a:ext cx="1861204" cy="42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16"/>
          </p:nvPr>
        </p:nvSpPr>
        <p:spPr>
          <a:xfrm>
            <a:off x="552498" y="2431025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2626099" y="1057375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2626100" y="2420957"/>
            <a:ext cx="1861204" cy="4209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18"/>
          </p:nvPr>
        </p:nvSpPr>
        <p:spPr>
          <a:xfrm>
            <a:off x="2626100" y="2431025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4683499" y="1057375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4683500" y="2420957"/>
            <a:ext cx="1861204" cy="4209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20"/>
          </p:nvPr>
        </p:nvSpPr>
        <p:spPr>
          <a:xfrm>
            <a:off x="4683500" y="2431025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5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6740899" y="1057375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6740900" y="2420957"/>
            <a:ext cx="1861204" cy="4209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2"/>
          </p:nvPr>
        </p:nvSpPr>
        <p:spPr>
          <a:xfrm>
            <a:off x="6740900" y="2431025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8" name="Picture Placeholder 7"/>
          <p:cNvSpPr>
            <a:spLocks noGrp="1"/>
          </p:cNvSpPr>
          <p:nvPr>
            <p:ph type="pic" sz="quarter" idx="23" hasCustomPrompt="1"/>
          </p:nvPr>
        </p:nvSpPr>
        <p:spPr>
          <a:xfrm>
            <a:off x="552497" y="2978480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9" name="Rectangle 58"/>
          <p:cNvSpPr/>
          <p:nvPr userDrawn="1"/>
        </p:nvSpPr>
        <p:spPr>
          <a:xfrm>
            <a:off x="552498" y="4342062"/>
            <a:ext cx="1861204" cy="4209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 Placeholder 3"/>
          <p:cNvSpPr>
            <a:spLocks noGrp="1"/>
          </p:cNvSpPr>
          <p:nvPr>
            <p:ph type="body" sz="half" idx="24"/>
          </p:nvPr>
        </p:nvSpPr>
        <p:spPr>
          <a:xfrm>
            <a:off x="552498" y="4352130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1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2626099" y="2978480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2" name="Rectangle 61"/>
          <p:cNvSpPr/>
          <p:nvPr userDrawn="1"/>
        </p:nvSpPr>
        <p:spPr>
          <a:xfrm>
            <a:off x="2626100" y="4342062"/>
            <a:ext cx="1861204" cy="4209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3"/>
          <p:cNvSpPr>
            <a:spLocks noGrp="1"/>
          </p:cNvSpPr>
          <p:nvPr>
            <p:ph type="body" sz="half" idx="26"/>
          </p:nvPr>
        </p:nvSpPr>
        <p:spPr>
          <a:xfrm>
            <a:off x="2626100" y="4352130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4" name="Picture Placeholder 7"/>
          <p:cNvSpPr>
            <a:spLocks noGrp="1"/>
          </p:cNvSpPr>
          <p:nvPr>
            <p:ph type="pic" sz="quarter" idx="27" hasCustomPrompt="1"/>
          </p:nvPr>
        </p:nvSpPr>
        <p:spPr>
          <a:xfrm>
            <a:off x="4683499" y="2978480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5" name="Rectangle 64"/>
          <p:cNvSpPr/>
          <p:nvPr userDrawn="1"/>
        </p:nvSpPr>
        <p:spPr>
          <a:xfrm>
            <a:off x="4683500" y="4342062"/>
            <a:ext cx="1861204" cy="42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ext Placeholder 3"/>
          <p:cNvSpPr>
            <a:spLocks noGrp="1"/>
          </p:cNvSpPr>
          <p:nvPr>
            <p:ph type="body" sz="half" idx="28"/>
          </p:nvPr>
        </p:nvSpPr>
        <p:spPr>
          <a:xfrm>
            <a:off x="4683500" y="4352130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7" name="Picture Placeholder 7"/>
          <p:cNvSpPr>
            <a:spLocks noGrp="1"/>
          </p:cNvSpPr>
          <p:nvPr>
            <p:ph type="pic" sz="quarter" idx="29" hasCustomPrompt="1"/>
          </p:nvPr>
        </p:nvSpPr>
        <p:spPr>
          <a:xfrm>
            <a:off x="6740899" y="2978480"/>
            <a:ext cx="1861204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6740900" y="4342062"/>
            <a:ext cx="1861204" cy="4209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30"/>
          </p:nvPr>
        </p:nvSpPr>
        <p:spPr>
          <a:xfrm>
            <a:off x="6740900" y="4352130"/>
            <a:ext cx="1861204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918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500"/>
                            </p:stCondLst>
                            <p:childTnLst>
                              <p:par>
                                <p:cTn id="9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5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/>
      <p:bldP spid="17" grpId="0" animBg="1"/>
      <p:bldP spid="4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/>
      <p:bldP spid="50" grpId="0" animBg="1"/>
      <p:bldP spid="5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 animBg="1"/>
      <p:bldP spid="5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/>
      <p:bldP spid="56" grpId="0" animBg="1"/>
      <p:bldP spid="5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/>
      <p:bldP spid="59" grpId="0" animBg="1"/>
      <p:bldP spid="6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/>
      <p:bldP spid="62" grpId="0" animBg="1"/>
      <p:bldP spid="64" grpId="0"/>
      <p:bldP spid="65" grpId="0" animBg="1"/>
      <p:bldP spid="6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/>
      <p:bldP spid="68" grpId="0" animBg="1"/>
      <p:bldP spid="6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523775" y="2943008"/>
            <a:ext cx="1914644" cy="16861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 userDrawn="1"/>
        </p:nvSpPr>
        <p:spPr>
          <a:xfrm>
            <a:off x="523775" y="1189491"/>
            <a:ext cx="1914644" cy="16861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77215" y="1242330"/>
            <a:ext cx="1810424" cy="155630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16"/>
          </p:nvPr>
        </p:nvSpPr>
        <p:spPr>
          <a:xfrm>
            <a:off x="770339" y="3068877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17"/>
          </p:nvPr>
        </p:nvSpPr>
        <p:spPr>
          <a:xfrm>
            <a:off x="629516" y="3443294"/>
            <a:ext cx="1703163" cy="108489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Rectangle 84"/>
          <p:cNvSpPr/>
          <p:nvPr userDrawn="1"/>
        </p:nvSpPr>
        <p:spPr>
          <a:xfrm>
            <a:off x="2587364" y="2943008"/>
            <a:ext cx="1914644" cy="16861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 userDrawn="1"/>
        </p:nvSpPr>
        <p:spPr>
          <a:xfrm>
            <a:off x="2587364" y="1189491"/>
            <a:ext cx="1914644" cy="16861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640804" y="1242330"/>
            <a:ext cx="1810424" cy="155630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19"/>
          </p:nvPr>
        </p:nvSpPr>
        <p:spPr>
          <a:xfrm>
            <a:off x="2833928" y="3068877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20"/>
          </p:nvPr>
        </p:nvSpPr>
        <p:spPr>
          <a:xfrm>
            <a:off x="2693105" y="3443294"/>
            <a:ext cx="1703163" cy="108489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0" name="Rectangle 89"/>
          <p:cNvSpPr/>
          <p:nvPr userDrawn="1"/>
        </p:nvSpPr>
        <p:spPr>
          <a:xfrm>
            <a:off x="4638575" y="2943008"/>
            <a:ext cx="1914644" cy="16861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 userDrawn="1"/>
        </p:nvSpPr>
        <p:spPr>
          <a:xfrm>
            <a:off x="4638575" y="1189491"/>
            <a:ext cx="1914644" cy="16861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4692015" y="1242330"/>
            <a:ext cx="1810424" cy="155630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93" name="Text Placeholder 3"/>
          <p:cNvSpPr>
            <a:spLocks noGrp="1"/>
          </p:cNvSpPr>
          <p:nvPr>
            <p:ph type="body" sz="half" idx="22"/>
          </p:nvPr>
        </p:nvSpPr>
        <p:spPr>
          <a:xfrm>
            <a:off x="4885139" y="3068877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4" name="Text Placeholder 3"/>
          <p:cNvSpPr>
            <a:spLocks noGrp="1"/>
          </p:cNvSpPr>
          <p:nvPr>
            <p:ph type="body" sz="half" idx="23"/>
          </p:nvPr>
        </p:nvSpPr>
        <p:spPr>
          <a:xfrm>
            <a:off x="4744316" y="3443294"/>
            <a:ext cx="1703163" cy="108489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5" name="Rectangle 94"/>
          <p:cNvSpPr/>
          <p:nvPr userDrawn="1"/>
        </p:nvSpPr>
        <p:spPr>
          <a:xfrm>
            <a:off x="6679006" y="2943008"/>
            <a:ext cx="1914644" cy="16861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95"/>
          <p:cNvSpPr/>
          <p:nvPr userDrawn="1"/>
        </p:nvSpPr>
        <p:spPr>
          <a:xfrm>
            <a:off x="6679006" y="1189491"/>
            <a:ext cx="1914644" cy="16861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6732446" y="1242330"/>
            <a:ext cx="1810424" cy="155630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98" name="Text Placeholder 3"/>
          <p:cNvSpPr>
            <a:spLocks noGrp="1"/>
          </p:cNvSpPr>
          <p:nvPr>
            <p:ph type="body" sz="half" idx="25"/>
          </p:nvPr>
        </p:nvSpPr>
        <p:spPr>
          <a:xfrm>
            <a:off x="6925570" y="3068877"/>
            <a:ext cx="1421516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9" name="Text Placeholder 3"/>
          <p:cNvSpPr>
            <a:spLocks noGrp="1"/>
          </p:cNvSpPr>
          <p:nvPr>
            <p:ph type="body" sz="half" idx="26"/>
          </p:nvPr>
        </p:nvSpPr>
        <p:spPr>
          <a:xfrm>
            <a:off x="6784747" y="3443294"/>
            <a:ext cx="1703163" cy="108489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211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/>
      <p:bldP spid="37" grpId="0" animBg="1"/>
      <p:bldP spid="80" grpId="0"/>
      <p:bldP spid="8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animBg="1"/>
      <p:bldP spid="86" grpId="0" animBg="1"/>
      <p:bldP spid="87" grpId="0"/>
      <p:bldP spid="8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animBg="1"/>
      <p:bldP spid="91" grpId="0" animBg="1"/>
      <p:bldP spid="92" grpId="0"/>
      <p:bldP spid="9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/>
      <p:bldP spid="96" grpId="0" animBg="1"/>
      <p:bldP spid="97" grpId="0"/>
      <p:bldP spid="9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352800" y="1056575"/>
            <a:ext cx="2438400" cy="2437670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741295" y="377097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5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31"/>
          </p:nvPr>
        </p:nvSpPr>
        <p:spPr>
          <a:xfrm>
            <a:off x="2546030" y="440135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32"/>
          </p:nvPr>
        </p:nvSpPr>
        <p:spPr>
          <a:xfrm>
            <a:off x="5124638" y="440135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33"/>
          </p:nvPr>
        </p:nvSpPr>
        <p:spPr>
          <a:xfrm>
            <a:off x="6934188" y="377097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34"/>
          </p:nvPr>
        </p:nvSpPr>
        <p:spPr>
          <a:xfrm>
            <a:off x="3858125" y="3875210"/>
            <a:ext cx="1421516" cy="38173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05649" y="1808947"/>
            <a:ext cx="1892808" cy="1892243"/>
          </a:xfrm>
          <a:prstGeom prst="ellipse">
            <a:avLst/>
          </a:prstGeom>
          <a:ln w="28575">
            <a:solidFill>
              <a:schemeClr val="accent5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310384" y="2460982"/>
            <a:ext cx="1892808" cy="1892243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4888992" y="2460982"/>
            <a:ext cx="1892808" cy="1892243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3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6698542" y="1808947"/>
            <a:ext cx="1892808" cy="1892243"/>
          </a:xfrm>
          <a:prstGeom prst="ellipse">
            <a:avLst/>
          </a:prstGeom>
          <a:ln w="28575">
            <a:solidFill>
              <a:schemeClr val="accent6"/>
            </a:solidFill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938859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/>
      <p:bldP spid="63" grpId="0" animBg="1"/>
      <p:bldP spid="73" grpId="0" animBg="1"/>
      <p:bldP spid="83" grpId="0" animBg="1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/>
          <p:cNvSpPr>
            <a:spLocks noGrp="1"/>
          </p:cNvSpPr>
          <p:nvPr>
            <p:ph type="body" sz="half" idx="16"/>
          </p:nvPr>
        </p:nvSpPr>
        <p:spPr>
          <a:xfrm>
            <a:off x="1725836" y="1453376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49487" y="1472627"/>
            <a:ext cx="1169764" cy="1169415"/>
          </a:xfrm>
          <a:prstGeom prst="teardrop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15"/>
          </p:nvPr>
        </p:nvSpPr>
        <p:spPr>
          <a:xfrm>
            <a:off x="1725836" y="1866293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7" name="Text Placeholder 3"/>
          <p:cNvSpPr>
            <a:spLocks noGrp="1"/>
          </p:cNvSpPr>
          <p:nvPr>
            <p:ph type="body" sz="half" idx="17"/>
          </p:nvPr>
        </p:nvSpPr>
        <p:spPr>
          <a:xfrm>
            <a:off x="4486274" y="1453376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209925" y="1472627"/>
            <a:ext cx="1169764" cy="1169415"/>
          </a:xfrm>
          <a:prstGeom prst="teardrop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6274" y="1866293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ph type="body" sz="half" idx="20"/>
          </p:nvPr>
        </p:nvSpPr>
        <p:spPr>
          <a:xfrm>
            <a:off x="7248524" y="1453376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1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972175" y="1472627"/>
            <a:ext cx="1169764" cy="1169415"/>
          </a:xfrm>
          <a:prstGeom prst="teardrop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2" name="Text Placeholder 3"/>
          <p:cNvSpPr>
            <a:spLocks noGrp="1"/>
          </p:cNvSpPr>
          <p:nvPr>
            <p:ph type="body" sz="half" idx="22"/>
          </p:nvPr>
        </p:nvSpPr>
        <p:spPr>
          <a:xfrm>
            <a:off x="7248524" y="1866293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3" name="Text Placeholder 3"/>
          <p:cNvSpPr>
            <a:spLocks noGrp="1"/>
          </p:cNvSpPr>
          <p:nvPr>
            <p:ph type="body" sz="half" idx="23"/>
          </p:nvPr>
        </p:nvSpPr>
        <p:spPr>
          <a:xfrm>
            <a:off x="1725836" y="2987508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4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449487" y="3006759"/>
            <a:ext cx="1169764" cy="1169415"/>
          </a:xfrm>
          <a:prstGeom prst="teardrop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5" name="Text Placeholder 3"/>
          <p:cNvSpPr>
            <a:spLocks noGrp="1"/>
          </p:cNvSpPr>
          <p:nvPr>
            <p:ph type="body" sz="half" idx="25"/>
          </p:nvPr>
        </p:nvSpPr>
        <p:spPr>
          <a:xfrm>
            <a:off x="1725836" y="3400425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26"/>
          </p:nvPr>
        </p:nvSpPr>
        <p:spPr>
          <a:xfrm>
            <a:off x="4486274" y="2987508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5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7" name="Picture Placeholder 7"/>
          <p:cNvSpPr>
            <a:spLocks noGrp="1"/>
          </p:cNvSpPr>
          <p:nvPr>
            <p:ph type="pic" sz="quarter" idx="27" hasCustomPrompt="1"/>
          </p:nvPr>
        </p:nvSpPr>
        <p:spPr>
          <a:xfrm>
            <a:off x="3209925" y="3006759"/>
            <a:ext cx="1169764" cy="1169415"/>
          </a:xfrm>
          <a:prstGeom prst="teardrop">
            <a:avLst/>
          </a:prstGeom>
          <a:ln w="28575">
            <a:solidFill>
              <a:schemeClr val="accent5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8" name="Text Placeholder 3"/>
          <p:cNvSpPr>
            <a:spLocks noGrp="1"/>
          </p:cNvSpPr>
          <p:nvPr>
            <p:ph type="body" sz="half" idx="28"/>
          </p:nvPr>
        </p:nvSpPr>
        <p:spPr>
          <a:xfrm>
            <a:off x="4486274" y="3400425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29"/>
          </p:nvPr>
        </p:nvSpPr>
        <p:spPr>
          <a:xfrm>
            <a:off x="7248524" y="2987508"/>
            <a:ext cx="1388839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5972175" y="3006759"/>
            <a:ext cx="1169764" cy="1169415"/>
          </a:xfrm>
          <a:prstGeom prst="teardrop">
            <a:avLst/>
          </a:prstGeom>
          <a:ln w="28575">
            <a:solidFill>
              <a:schemeClr val="accent6"/>
            </a:solidFill>
          </a:ln>
        </p:spPr>
        <p:txBody>
          <a:bodyPr bIns="182880" anchor="b"/>
          <a:lstStyle>
            <a:lvl1pPr algn="ct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31"/>
          </p:nvPr>
        </p:nvSpPr>
        <p:spPr>
          <a:xfrm>
            <a:off x="7248524" y="3400425"/>
            <a:ext cx="1388839" cy="857858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991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0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000"/>
                            </p:stCondLst>
                            <p:childTnLst>
                              <p:par>
                                <p:cTn id="7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500"/>
                            </p:stCondLst>
                            <p:childTnLst>
                              <p:par>
                                <p:cTn id="7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000"/>
                            </p:stCondLst>
                            <p:childTnLst>
                              <p:par>
                                <p:cTn id="8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8500"/>
                            </p:stCondLst>
                            <p:childTnLst>
                              <p:par>
                                <p:cTn id="8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9000"/>
                            </p:stCondLst>
                            <p:childTnLst>
                              <p:par>
                                <p:cTn id="9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9500"/>
                            </p:stCondLst>
                            <p:childTnLst>
                              <p:par>
                                <p:cTn id="9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/>
      <p:bldP spid="6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/>
      <p:bldP spid="7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/>
      <p:bldP spid="7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/>
      <p:bldP spid="8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44" name="Round Same Side Corner Rectangle 43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Rounded Rectangle 23"/>
          <p:cNvSpPr/>
          <p:nvPr userDrawn="1"/>
        </p:nvSpPr>
        <p:spPr>
          <a:xfrm>
            <a:off x="654724" y="1375291"/>
            <a:ext cx="3802062" cy="1684314"/>
          </a:xfrm>
          <a:prstGeom prst="roundRect">
            <a:avLst>
              <a:gd name="adj" fmla="val 36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47388" y="1504216"/>
            <a:ext cx="1401282" cy="1426464"/>
          </a:xfrm>
          <a:prstGeom prst="roundRect">
            <a:avLst>
              <a:gd name="adj" fmla="val 8424"/>
            </a:avLst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918456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animBg="1"/>
      <p:bldP spid="27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133821"/>
            <a:ext cx="2773585" cy="213145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362429" y="1133821"/>
            <a:ext cx="2781572" cy="213145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2773585" y="1133822"/>
            <a:ext cx="3588844" cy="21314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550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514392" y="1073969"/>
            <a:ext cx="3974883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4514392" y="2571750"/>
            <a:ext cx="3974883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219139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  <p:bldP spid="13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8466" y="916134"/>
            <a:ext cx="3938587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5800" indent="-103585">
              <a:lnSpc>
                <a:spcPct val="85000"/>
              </a:lnSpc>
              <a:spcAft>
                <a:spcPts val="600"/>
              </a:spcAft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897731" indent="-109538">
              <a:buClr>
                <a:schemeClr val="accent1"/>
              </a:buClr>
              <a:buFont typeface="Arial" pitchFamily="34" charset="0"/>
              <a:buChar char="–"/>
              <a:defRPr sz="1100">
                <a:latin typeface="Calibri" panose="020F0502020204030204" pitchFamily="34" charset="0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127397" marR="0" lvl="1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Second level</a:t>
            </a:r>
          </a:p>
          <a:p>
            <a:pPr marL="127397" marR="0" lvl="2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Third level</a:t>
            </a:r>
          </a:p>
          <a:p>
            <a:pPr marL="127397" marR="0" lvl="3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Fourth level</a:t>
            </a:r>
          </a:p>
          <a:p>
            <a:pPr marL="127397" marR="0" lvl="4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0" y="916134"/>
            <a:ext cx="4184650" cy="3779838"/>
          </a:xfrm>
          <a:prstGeom prst="rect">
            <a:avLst/>
          </a:prstGeom>
        </p:spPr>
        <p:txBody>
          <a:bodyPr/>
          <a:lstStyle>
            <a:lvl1pPr marL="127397" indent="-127397">
              <a:defRPr lang="en-US" sz="1600" b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89335" indent="-134541"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67965" indent="-285750">
              <a:defRPr lang="en-US" sz="1200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85800" indent="-103585">
              <a:defRPr lang="en-US" sz="11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>
              <a:defRPr sz="1000">
                <a:latin typeface="Calibri" panose="020F0502020204030204" pitchFamily="34" charset="0"/>
              </a:defRPr>
            </a:lvl5pPr>
          </a:lstStyle>
          <a:p>
            <a:pPr marL="127397" marR="0" lvl="0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Click to edit Master text styles</a:t>
            </a:r>
          </a:p>
          <a:p>
            <a:pPr marL="127397" marR="0" lvl="1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Second level</a:t>
            </a:r>
          </a:p>
          <a:p>
            <a:pPr marL="127397" marR="0" lvl="2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Third level</a:t>
            </a:r>
          </a:p>
          <a:p>
            <a:pPr marL="127397" marR="0" lvl="3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Fourth level</a:t>
            </a:r>
          </a:p>
          <a:p>
            <a:pPr marL="127397" marR="0" lvl="4" indent="-127397" algn="l" defTabSz="914400" rtl="0" eaLnBrk="1" latinLnBrk="0" hangingPunct="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"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109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6781800" y="2438400"/>
            <a:ext cx="1905000" cy="1005895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36201" y="3527404"/>
            <a:ext cx="1905000" cy="1005895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6781800" y="1339750"/>
            <a:ext cx="1905000" cy="1024202"/>
            <a:chOff x="4750079" y="1706835"/>
            <a:chExt cx="1785974" cy="1044090"/>
          </a:xfrm>
        </p:grpSpPr>
        <p:sp>
          <p:nvSpPr>
            <p:cNvPr id="26" name="Rectangle 2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836201" y="1363473"/>
            <a:ext cx="1905000" cy="1005895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4836201" y="2440896"/>
            <a:ext cx="1905000" cy="1024202"/>
            <a:chOff x="4750079" y="1706835"/>
            <a:chExt cx="1785974" cy="1044090"/>
          </a:xfrm>
        </p:grpSpPr>
        <p:sp>
          <p:nvSpPr>
            <p:cNvPr id="33" name="Rectangle 32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oup 34"/>
          <p:cNvGrpSpPr/>
          <p:nvPr userDrawn="1"/>
        </p:nvGrpSpPr>
        <p:grpSpPr>
          <a:xfrm>
            <a:off x="6781800" y="3529900"/>
            <a:ext cx="1905000" cy="1024202"/>
            <a:chOff x="4750079" y="1706835"/>
            <a:chExt cx="1785974" cy="1044090"/>
          </a:xfrm>
        </p:grpSpPr>
        <p:sp>
          <p:nvSpPr>
            <p:cNvPr id="36" name="Rectangle 3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11867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/>
      <p:bldP spid="8" grpId="0"/>
      <p:bldP spid="31" grpId="0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415786" y="1270500"/>
            <a:ext cx="1706218" cy="1526162"/>
            <a:chOff x="4750079" y="1706835"/>
            <a:chExt cx="1785974" cy="1044090"/>
          </a:xfrm>
        </p:grpSpPr>
        <p:sp>
          <p:nvSpPr>
            <p:cNvPr id="20" name="Rectangle 19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7021996" y="1270500"/>
            <a:ext cx="1706218" cy="1526162"/>
            <a:chOff x="4750079" y="1706835"/>
            <a:chExt cx="1785974" cy="1044090"/>
          </a:xfrm>
        </p:grpSpPr>
        <p:sp>
          <p:nvSpPr>
            <p:cNvPr id="24" name="Rectangle 23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2" name="Group 31"/>
          <p:cNvGrpSpPr/>
          <p:nvPr userDrawn="1"/>
        </p:nvGrpSpPr>
        <p:grpSpPr>
          <a:xfrm>
            <a:off x="415786" y="2960526"/>
            <a:ext cx="1706218" cy="1526162"/>
            <a:chOff x="4750079" y="1706835"/>
            <a:chExt cx="1785974" cy="1044090"/>
          </a:xfrm>
        </p:grpSpPr>
        <p:sp>
          <p:nvSpPr>
            <p:cNvPr id="35" name="Rectangle 34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" name="Group 39"/>
          <p:cNvGrpSpPr/>
          <p:nvPr userDrawn="1"/>
        </p:nvGrpSpPr>
        <p:grpSpPr>
          <a:xfrm>
            <a:off x="7021996" y="2960526"/>
            <a:ext cx="1706218" cy="1526162"/>
            <a:chOff x="4750079" y="1706835"/>
            <a:chExt cx="1785974" cy="1044090"/>
          </a:xfrm>
        </p:grpSpPr>
        <p:sp>
          <p:nvSpPr>
            <p:cNvPr id="41" name="Rectangle 40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2122004" y="1270500"/>
            <a:ext cx="2385392" cy="1526162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4633291" y="1270500"/>
            <a:ext cx="2385392" cy="1526162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2122004" y="2960526"/>
            <a:ext cx="2385392" cy="1526162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633291" y="2960526"/>
            <a:ext cx="2385392" cy="1526162"/>
          </a:xfrm>
          <a:prstGeom prst="rect">
            <a:avLst/>
          </a:prstGeom>
          <a:ln>
            <a:noFill/>
          </a:ln>
        </p:spPr>
        <p:txBody>
          <a:bodyPr bIns="9144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19"/>
          </p:nvPr>
        </p:nvSpPr>
        <p:spPr>
          <a:xfrm>
            <a:off x="474969" y="1682327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20"/>
          </p:nvPr>
        </p:nvSpPr>
        <p:spPr>
          <a:xfrm>
            <a:off x="469700" y="1457325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21"/>
          </p:nvPr>
        </p:nvSpPr>
        <p:spPr>
          <a:xfrm>
            <a:off x="474969" y="3331256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22"/>
          </p:nvPr>
        </p:nvSpPr>
        <p:spPr>
          <a:xfrm>
            <a:off x="469700" y="3106254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23"/>
          </p:nvPr>
        </p:nvSpPr>
        <p:spPr>
          <a:xfrm>
            <a:off x="7093940" y="1682327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24"/>
          </p:nvPr>
        </p:nvSpPr>
        <p:spPr>
          <a:xfrm>
            <a:off x="7088671" y="1457325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5"/>
          </p:nvPr>
        </p:nvSpPr>
        <p:spPr>
          <a:xfrm>
            <a:off x="7093940" y="3369356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26"/>
          </p:nvPr>
        </p:nvSpPr>
        <p:spPr>
          <a:xfrm>
            <a:off x="7088671" y="3144354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612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/>
      <p:bldP spid="48" grpId="0"/>
      <p:bldP spid="49" grpId="0"/>
      <p:bldP spid="50" grpId="0"/>
      <p:bldP spid="5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8"/>
          <p:cNvGrpSpPr/>
          <p:nvPr userDrawn="1"/>
        </p:nvGrpSpPr>
        <p:grpSpPr>
          <a:xfrm>
            <a:off x="0" y="1264650"/>
            <a:ext cx="1828800" cy="1682250"/>
            <a:chOff x="4750079" y="1706835"/>
            <a:chExt cx="1785974" cy="1044090"/>
          </a:xfrm>
        </p:grpSpPr>
        <p:sp>
          <p:nvSpPr>
            <p:cNvPr id="20" name="Rectangle 19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2"/>
          <p:cNvGrpSpPr/>
          <p:nvPr userDrawn="1"/>
        </p:nvGrpSpPr>
        <p:grpSpPr>
          <a:xfrm>
            <a:off x="3657600" y="1264650"/>
            <a:ext cx="1828800" cy="1682250"/>
            <a:chOff x="4750079" y="1706835"/>
            <a:chExt cx="1785974" cy="1044090"/>
          </a:xfrm>
        </p:grpSpPr>
        <p:sp>
          <p:nvSpPr>
            <p:cNvPr id="24" name="Rectangle 23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" name="Group 22"/>
          <p:cNvGrpSpPr/>
          <p:nvPr userDrawn="1"/>
        </p:nvGrpSpPr>
        <p:grpSpPr>
          <a:xfrm>
            <a:off x="7315200" y="1264650"/>
            <a:ext cx="1828800" cy="1682250"/>
            <a:chOff x="4750079" y="1706835"/>
            <a:chExt cx="1785974" cy="1044090"/>
          </a:xfrm>
        </p:grpSpPr>
        <p:sp>
          <p:nvSpPr>
            <p:cNvPr id="43" name="Rectangle 42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1" name="Group 22"/>
          <p:cNvGrpSpPr/>
          <p:nvPr userDrawn="1"/>
        </p:nvGrpSpPr>
        <p:grpSpPr>
          <a:xfrm>
            <a:off x="5486400" y="2946900"/>
            <a:ext cx="1828800" cy="1682250"/>
            <a:chOff x="4750079" y="1706835"/>
            <a:chExt cx="1785974" cy="1044090"/>
          </a:xfrm>
        </p:grpSpPr>
        <p:sp>
          <p:nvSpPr>
            <p:cNvPr id="68" name="Rectangle 67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2" name="Group 22"/>
          <p:cNvGrpSpPr/>
          <p:nvPr userDrawn="1"/>
        </p:nvGrpSpPr>
        <p:grpSpPr>
          <a:xfrm>
            <a:off x="1828800" y="2946900"/>
            <a:ext cx="1828800" cy="1682250"/>
            <a:chOff x="4750079" y="1706835"/>
            <a:chExt cx="1785974" cy="1044090"/>
          </a:xfrm>
        </p:grpSpPr>
        <p:sp>
          <p:nvSpPr>
            <p:cNvPr id="66" name="Rectangle 65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4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1828800" y="126465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486400" y="126465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4690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7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3657600" y="294690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7299032" y="2946900"/>
            <a:ext cx="1828800" cy="168225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21"/>
          </p:nvPr>
        </p:nvSpPr>
        <p:spPr>
          <a:xfrm>
            <a:off x="119066" y="1730761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ph type="body" sz="half" idx="22"/>
          </p:nvPr>
        </p:nvSpPr>
        <p:spPr>
          <a:xfrm>
            <a:off x="113797" y="1505759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23"/>
          </p:nvPr>
        </p:nvSpPr>
        <p:spPr>
          <a:xfrm>
            <a:off x="1952325" y="3460227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4"/>
          </p:nvPr>
        </p:nvSpPr>
        <p:spPr>
          <a:xfrm>
            <a:off x="1947056" y="3235225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25"/>
          </p:nvPr>
        </p:nvSpPr>
        <p:spPr>
          <a:xfrm>
            <a:off x="3790750" y="1730761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26"/>
          </p:nvPr>
        </p:nvSpPr>
        <p:spPr>
          <a:xfrm>
            <a:off x="3785481" y="1505759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27"/>
          </p:nvPr>
        </p:nvSpPr>
        <p:spPr>
          <a:xfrm>
            <a:off x="5614281" y="3460227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28"/>
          </p:nvPr>
        </p:nvSpPr>
        <p:spPr>
          <a:xfrm>
            <a:off x="5609012" y="3235225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29"/>
          </p:nvPr>
        </p:nvSpPr>
        <p:spPr>
          <a:xfrm>
            <a:off x="7466719" y="1730761"/>
            <a:ext cx="1563381" cy="959082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30"/>
          </p:nvPr>
        </p:nvSpPr>
        <p:spPr>
          <a:xfrm>
            <a:off x="7461450" y="1505759"/>
            <a:ext cx="156775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447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500"/>
                            </p:stCondLst>
                            <p:childTnLst>
                              <p:par>
                                <p:cTn id="8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/>
      <p:bldP spid="75" grpId="0"/>
      <p:bldP spid="76" grpId="0"/>
      <p:bldP spid="77" grpId="0"/>
      <p:bldP spid="78" grpId="0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53855" y="1122093"/>
            <a:ext cx="1834811" cy="2844844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671040" y="1122093"/>
            <a:ext cx="1779495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6700526" y="1122093"/>
            <a:ext cx="1779495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658482" y="2619875"/>
            <a:ext cx="1779495" cy="1347062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2664561" y="2570470"/>
            <a:ext cx="1785974" cy="1396467"/>
            <a:chOff x="2664561" y="2570470"/>
            <a:chExt cx="1785974" cy="1396467"/>
          </a:xfrm>
        </p:grpSpPr>
        <p:sp>
          <p:nvSpPr>
            <p:cNvPr id="34" name="Rectangle 33"/>
            <p:cNvSpPr/>
            <p:nvPr/>
          </p:nvSpPr>
          <p:spPr>
            <a:xfrm>
              <a:off x="2664561" y="2570470"/>
              <a:ext cx="1785974" cy="134706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664561" y="2619875"/>
              <a:ext cx="1785974" cy="13470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oup 3"/>
          <p:cNvGrpSpPr/>
          <p:nvPr userDrawn="1"/>
        </p:nvGrpSpPr>
        <p:grpSpPr>
          <a:xfrm>
            <a:off x="6694047" y="2562850"/>
            <a:ext cx="1785974" cy="1404087"/>
            <a:chOff x="6694047" y="2562850"/>
            <a:chExt cx="1785974" cy="1404087"/>
          </a:xfrm>
        </p:grpSpPr>
        <p:sp>
          <p:nvSpPr>
            <p:cNvPr id="37" name="Rectangle 36"/>
            <p:cNvSpPr/>
            <p:nvPr/>
          </p:nvSpPr>
          <p:spPr>
            <a:xfrm>
              <a:off x="6694047" y="2562850"/>
              <a:ext cx="1785974" cy="1347062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694047" y="2619875"/>
              <a:ext cx="1785974" cy="13470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2"/>
          <p:cNvGrpSpPr/>
          <p:nvPr userDrawn="1"/>
        </p:nvGrpSpPr>
        <p:grpSpPr>
          <a:xfrm>
            <a:off x="4658482" y="1122093"/>
            <a:ext cx="1785974" cy="1407182"/>
            <a:chOff x="4658482" y="1122093"/>
            <a:chExt cx="1785974" cy="1407182"/>
          </a:xfrm>
        </p:grpSpPr>
        <p:sp>
          <p:nvSpPr>
            <p:cNvPr id="40" name="Rectangle 39"/>
            <p:cNvSpPr/>
            <p:nvPr/>
          </p:nvSpPr>
          <p:spPr>
            <a:xfrm>
              <a:off x="4658482" y="1182213"/>
              <a:ext cx="1785974" cy="134706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4658482" y="1122093"/>
              <a:ext cx="1785974" cy="134706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47105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  <p:bldP spid="28" grpId="0"/>
      <p:bldP spid="31" grpId="0"/>
      <p:bldP spid="32" grpId="0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4750079" y="1430890"/>
            <a:ext cx="1785974" cy="1044090"/>
            <a:chOff x="4750079" y="1706835"/>
            <a:chExt cx="1785974" cy="1044090"/>
          </a:xfrm>
        </p:grpSpPr>
        <p:sp>
          <p:nvSpPr>
            <p:cNvPr id="45" name="Rectangle 44"/>
            <p:cNvSpPr/>
            <p:nvPr/>
          </p:nvSpPr>
          <p:spPr>
            <a:xfrm>
              <a:off x="4750079" y="1747885"/>
              <a:ext cx="1785974" cy="100304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4750079" y="1706835"/>
              <a:ext cx="1785974" cy="100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46"/>
          <p:cNvGrpSpPr/>
          <p:nvPr userDrawn="1"/>
        </p:nvGrpSpPr>
        <p:grpSpPr>
          <a:xfrm>
            <a:off x="6707505" y="1430890"/>
            <a:ext cx="1785974" cy="1044090"/>
            <a:chOff x="6707505" y="1706835"/>
            <a:chExt cx="1785974" cy="1044090"/>
          </a:xfrm>
        </p:grpSpPr>
        <p:sp>
          <p:nvSpPr>
            <p:cNvPr id="48" name="Rectangle 47"/>
            <p:cNvSpPr/>
            <p:nvPr/>
          </p:nvSpPr>
          <p:spPr>
            <a:xfrm>
              <a:off x="6707505" y="1747885"/>
              <a:ext cx="1785974" cy="100304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707505" y="1706835"/>
              <a:ext cx="1785974" cy="100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0" name="Group 49"/>
          <p:cNvGrpSpPr/>
          <p:nvPr userDrawn="1"/>
        </p:nvGrpSpPr>
        <p:grpSpPr>
          <a:xfrm>
            <a:off x="4750079" y="2517098"/>
            <a:ext cx="1785974" cy="1045251"/>
            <a:chOff x="4750079" y="2793043"/>
            <a:chExt cx="1785974" cy="1045251"/>
          </a:xfrm>
        </p:grpSpPr>
        <p:sp>
          <p:nvSpPr>
            <p:cNvPr id="51" name="Rectangle 50"/>
            <p:cNvSpPr/>
            <p:nvPr/>
          </p:nvSpPr>
          <p:spPr>
            <a:xfrm>
              <a:off x="4750079" y="2793043"/>
              <a:ext cx="1785974" cy="10030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750079" y="2835254"/>
              <a:ext cx="1785974" cy="10030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" name="Group 52"/>
          <p:cNvGrpSpPr/>
          <p:nvPr userDrawn="1"/>
        </p:nvGrpSpPr>
        <p:grpSpPr>
          <a:xfrm>
            <a:off x="6707505" y="2517098"/>
            <a:ext cx="1785974" cy="1045251"/>
            <a:chOff x="6707505" y="2793043"/>
            <a:chExt cx="1785974" cy="1045251"/>
          </a:xfrm>
        </p:grpSpPr>
        <p:sp>
          <p:nvSpPr>
            <p:cNvPr id="54" name="Rectangle 53"/>
            <p:cNvSpPr/>
            <p:nvPr/>
          </p:nvSpPr>
          <p:spPr>
            <a:xfrm>
              <a:off x="6707505" y="2793043"/>
              <a:ext cx="1785974" cy="1003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6707505" y="2835254"/>
              <a:ext cx="1785974" cy="10030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68891" y="1430890"/>
            <a:ext cx="3884059" cy="213146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888864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/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02843"/>
            <a:ext cx="9127832" cy="2254948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551712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 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43246" y="106233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3246" y="2416390"/>
            <a:ext cx="2602149" cy="42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0" name="Round Same Side Corner Rectangle 9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7"/>
          </p:nvPr>
        </p:nvSpPr>
        <p:spPr>
          <a:xfrm>
            <a:off x="510621" y="252226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258150" y="106233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258150" y="2416390"/>
            <a:ext cx="2602149" cy="4209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9"/>
          </p:nvPr>
        </p:nvSpPr>
        <p:spPr>
          <a:xfrm>
            <a:off x="3325525" y="252226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6071075" y="106233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6071075" y="2416390"/>
            <a:ext cx="2602149" cy="4209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1"/>
          </p:nvPr>
        </p:nvSpPr>
        <p:spPr>
          <a:xfrm>
            <a:off x="6138450" y="252226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43246" y="299306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43246" y="4347120"/>
            <a:ext cx="2602149" cy="4209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23"/>
          </p:nvPr>
        </p:nvSpPr>
        <p:spPr>
          <a:xfrm>
            <a:off x="510621" y="445299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3258150" y="299306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3258150" y="4347120"/>
            <a:ext cx="2602149" cy="4209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5"/>
          </p:nvPr>
        </p:nvSpPr>
        <p:spPr>
          <a:xfrm>
            <a:off x="3325525" y="445299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071075" y="2993063"/>
            <a:ext cx="2602150" cy="135405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6071075" y="4347120"/>
            <a:ext cx="2602149" cy="4209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7"/>
          </p:nvPr>
        </p:nvSpPr>
        <p:spPr>
          <a:xfrm>
            <a:off x="6138450" y="4452995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023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4" grpId="0" animBg="1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/>
      <p:bldP spid="15" grpId="0" animBg="1"/>
      <p:bldP spid="16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/>
      <p:bldP spid="18" grpId="0" animBg="1"/>
      <p:bldP spid="1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animBg="1"/>
      <p:bldP spid="2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animBg="1"/>
      <p:bldP spid="2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animBg="1"/>
      <p:bldP spid="28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506970" y="3506082"/>
            <a:ext cx="1811374" cy="1003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2556160" y="3506082"/>
            <a:ext cx="1811374" cy="1003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06970" y="1178543"/>
            <a:ext cx="3869193" cy="213145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545589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1" grpId="0" animBg="1"/>
      <p:bldP spid="12" grpId="0"/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-7985" y="1073968"/>
            <a:ext cx="3160757" cy="213145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17500" sx="1000" sy="1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3152772" y="1073968"/>
            <a:ext cx="5991228" cy="2131459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063997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animBg="1"/>
      <p:bldP spid="15" grpId="0"/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27831" cy="2974997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632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45633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60456" y="1229499"/>
            <a:ext cx="3681115" cy="322599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517403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87214" y="0"/>
            <a:ext cx="4456786" cy="51435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718430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4456786" cy="5143500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141506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65438" y="2994298"/>
            <a:ext cx="2007972" cy="165130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28355" y="2994298"/>
            <a:ext cx="2007972" cy="165130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511238" y="1208553"/>
            <a:ext cx="2007972" cy="165130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3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6746296" y="1208553"/>
            <a:ext cx="2007972" cy="1651304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2511238" y="2859857"/>
            <a:ext cx="2007972" cy="178574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>
              <a:spcBef>
                <a:spcPct val="20000"/>
              </a:spcBef>
              <a:defRPr/>
            </a:pPr>
            <a:endParaRPr lang="en-US" sz="4000">
              <a:latin typeface="FontAwesome" pitchFamily="2" charset="0"/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365438" y="1208553"/>
            <a:ext cx="2007972" cy="178574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>
              <a:spcBef>
                <a:spcPct val="20000"/>
              </a:spcBef>
              <a:defRPr/>
            </a:pPr>
            <a:endParaRPr lang="en-US" sz="440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4628355" y="1208552"/>
            <a:ext cx="2007972" cy="178574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>
              <a:spcBef>
                <a:spcPct val="20000"/>
              </a:spcBef>
              <a:defRPr/>
            </a:pPr>
            <a:r>
              <a:rPr lang="en-US" sz="1000"/>
              <a:t> </a:t>
            </a:r>
          </a:p>
          <a:p>
            <a:pPr lvl="0" algn="ctr" defTabSz="914400">
              <a:spcBef>
                <a:spcPct val="20000"/>
              </a:spcBef>
              <a:defRPr/>
            </a:pPr>
            <a:br>
              <a:rPr lang="en-US" sz="1200" b="1">
                <a:solidFill>
                  <a:schemeClr val="bg1">
                    <a:lumMod val="95000"/>
                  </a:schemeClr>
                </a:solidFill>
              </a:rPr>
            </a:br>
            <a:br>
              <a:rPr lang="en-US" sz="1200" b="1">
                <a:solidFill>
                  <a:schemeClr val="bg1">
                    <a:lumMod val="95000"/>
                  </a:schemeClr>
                </a:solidFill>
              </a:rPr>
            </a:br>
            <a:endParaRPr lang="en-US" sz="160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6746296" y="2859857"/>
            <a:ext cx="2007972" cy="178574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spcBef>
                <a:spcPct val="20000"/>
              </a:spcBef>
              <a:defRPr/>
            </a:pPr>
            <a:endParaRPr lang="en-US" sz="1200" b="1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98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/>
      <p:bldP spid="52" grpId="0"/>
      <p:bldP spid="53" grpId="0"/>
      <p:bldP spid="36" grpId="0" animBg="1"/>
      <p:bldP spid="35" grpId="0" animBg="1"/>
      <p:bldP spid="39" grpId="0" animBg="1"/>
      <p:bldP spid="44" grpId="0" animBg="1"/>
    </p:bld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714725" y="1646263"/>
            <a:ext cx="3773217" cy="2023461"/>
          </a:xfrm>
          <a:prstGeom prst="downArrowCallout">
            <a:avLst>
              <a:gd name="adj1" fmla="val 50000"/>
              <a:gd name="adj2" fmla="val 11967"/>
              <a:gd name="adj3" fmla="val 7487"/>
              <a:gd name="adj4" fmla="val 92647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43682" y="1636638"/>
            <a:ext cx="3773217" cy="2033086"/>
          </a:xfrm>
          <a:prstGeom prst="downArrowCallout">
            <a:avLst>
              <a:gd name="adj1" fmla="val 50000"/>
              <a:gd name="adj2" fmla="val 11967"/>
              <a:gd name="adj3" fmla="val 7487"/>
              <a:gd name="adj4" fmla="val 92647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half" idx="15"/>
          </p:nvPr>
        </p:nvSpPr>
        <p:spPr>
          <a:xfrm>
            <a:off x="648949" y="3894926"/>
            <a:ext cx="3762683" cy="63509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17"/>
          </p:nvPr>
        </p:nvSpPr>
        <p:spPr>
          <a:xfrm>
            <a:off x="643681" y="3688974"/>
            <a:ext cx="377321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9" name="Text Placeholder 3"/>
          <p:cNvSpPr>
            <a:spLocks noGrp="1"/>
          </p:cNvSpPr>
          <p:nvPr>
            <p:ph type="body" sz="half" idx="23"/>
          </p:nvPr>
        </p:nvSpPr>
        <p:spPr>
          <a:xfrm>
            <a:off x="4719992" y="3894926"/>
            <a:ext cx="3762683" cy="63509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 Placeholder 3"/>
          <p:cNvSpPr>
            <a:spLocks noGrp="1"/>
          </p:cNvSpPr>
          <p:nvPr>
            <p:ph type="body" sz="half" idx="25"/>
          </p:nvPr>
        </p:nvSpPr>
        <p:spPr>
          <a:xfrm>
            <a:off x="4714724" y="3688974"/>
            <a:ext cx="3773218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648948" y="1254235"/>
            <a:ext cx="3762684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16"/>
          </p:nvPr>
        </p:nvSpPr>
        <p:spPr>
          <a:xfrm>
            <a:off x="672532" y="1330017"/>
            <a:ext cx="3715517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4719991" y="1254235"/>
            <a:ext cx="3762684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1" name="Text Placeholder 3"/>
          <p:cNvSpPr>
            <a:spLocks noGrp="1"/>
          </p:cNvSpPr>
          <p:nvPr>
            <p:ph type="body" sz="half" idx="24"/>
          </p:nvPr>
        </p:nvSpPr>
        <p:spPr>
          <a:xfrm>
            <a:off x="4743575" y="1330017"/>
            <a:ext cx="3715517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421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38" grpId="0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/>
      <p:bldP spid="4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animBg="1"/>
      <p:bldP spid="61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43683" y="1665213"/>
            <a:ext cx="2491870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48950" y="3866351"/>
            <a:ext cx="2486604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643681" y="3660399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648949" y="1282810"/>
            <a:ext cx="2486604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742617" y="1372937"/>
            <a:ext cx="2299268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333752" y="1665213"/>
            <a:ext cx="2491870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half" idx="19"/>
          </p:nvPr>
        </p:nvSpPr>
        <p:spPr>
          <a:xfrm>
            <a:off x="3339019" y="3866351"/>
            <a:ext cx="2486604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0"/>
          </p:nvPr>
        </p:nvSpPr>
        <p:spPr>
          <a:xfrm>
            <a:off x="3333750" y="3660399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3" name="Rectangle 82"/>
          <p:cNvSpPr/>
          <p:nvPr userDrawn="1"/>
        </p:nvSpPr>
        <p:spPr>
          <a:xfrm>
            <a:off x="3339018" y="1282810"/>
            <a:ext cx="2486604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21"/>
          </p:nvPr>
        </p:nvSpPr>
        <p:spPr>
          <a:xfrm>
            <a:off x="3432686" y="1372937"/>
            <a:ext cx="2299268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5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6019802" y="1665213"/>
            <a:ext cx="2491870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23"/>
          </p:nvPr>
        </p:nvSpPr>
        <p:spPr>
          <a:xfrm>
            <a:off x="6025069" y="3866351"/>
            <a:ext cx="2486604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24"/>
          </p:nvPr>
        </p:nvSpPr>
        <p:spPr>
          <a:xfrm>
            <a:off x="6019800" y="3660399"/>
            <a:ext cx="2493566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8" name="Rectangle 87"/>
          <p:cNvSpPr/>
          <p:nvPr userDrawn="1"/>
        </p:nvSpPr>
        <p:spPr>
          <a:xfrm>
            <a:off x="6025068" y="1282810"/>
            <a:ext cx="2486604" cy="381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25"/>
          </p:nvPr>
        </p:nvSpPr>
        <p:spPr>
          <a:xfrm>
            <a:off x="6118736" y="1372937"/>
            <a:ext cx="2299268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906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/>
      <p:bldP spid="8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3" grpId="0" animBg="1"/>
      <p:bldP spid="84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/>
      <p:bldP spid="8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8" grpId="0" animBg="1"/>
      <p:bldP spid="8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70750" y="1585670"/>
            <a:ext cx="1871668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520611" y="3771101"/>
            <a:ext cx="1932643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515342" y="3565149"/>
            <a:ext cx="193805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576016" y="1203267"/>
            <a:ext cx="1867713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646371" y="1293394"/>
            <a:ext cx="1727003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4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633722" y="1585670"/>
            <a:ext cx="1871668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19"/>
          </p:nvPr>
        </p:nvSpPr>
        <p:spPr>
          <a:xfrm>
            <a:off x="2583583" y="3771101"/>
            <a:ext cx="1932643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0"/>
          </p:nvPr>
        </p:nvSpPr>
        <p:spPr>
          <a:xfrm>
            <a:off x="2578314" y="3565149"/>
            <a:ext cx="193805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44" name="Rectangle 43"/>
          <p:cNvSpPr/>
          <p:nvPr userDrawn="1"/>
        </p:nvSpPr>
        <p:spPr>
          <a:xfrm>
            <a:off x="2638988" y="1203267"/>
            <a:ext cx="1867713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1"/>
          </p:nvPr>
        </p:nvSpPr>
        <p:spPr>
          <a:xfrm>
            <a:off x="2709343" y="1293394"/>
            <a:ext cx="1727003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4684531" y="1585670"/>
            <a:ext cx="1871668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23"/>
          </p:nvPr>
        </p:nvSpPr>
        <p:spPr>
          <a:xfrm>
            <a:off x="4634392" y="3771101"/>
            <a:ext cx="1932643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24"/>
          </p:nvPr>
        </p:nvSpPr>
        <p:spPr>
          <a:xfrm>
            <a:off x="4629123" y="3565149"/>
            <a:ext cx="193805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49" name="Rectangle 48"/>
          <p:cNvSpPr/>
          <p:nvPr userDrawn="1"/>
        </p:nvSpPr>
        <p:spPr>
          <a:xfrm>
            <a:off x="4689797" y="1203267"/>
            <a:ext cx="1867713" cy="381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25"/>
          </p:nvPr>
        </p:nvSpPr>
        <p:spPr>
          <a:xfrm>
            <a:off x="4760152" y="1293394"/>
            <a:ext cx="1727003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6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6722908" y="1585670"/>
            <a:ext cx="1871668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2434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7"/>
          </p:nvPr>
        </p:nvSpPr>
        <p:spPr>
          <a:xfrm>
            <a:off x="6672769" y="3771101"/>
            <a:ext cx="1932643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28"/>
          </p:nvPr>
        </p:nvSpPr>
        <p:spPr>
          <a:xfrm>
            <a:off x="6667500" y="3565149"/>
            <a:ext cx="193805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59" name="Rectangle 58"/>
          <p:cNvSpPr/>
          <p:nvPr userDrawn="1"/>
        </p:nvSpPr>
        <p:spPr>
          <a:xfrm>
            <a:off x="6728174" y="1203267"/>
            <a:ext cx="1867713" cy="381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0" name="Text Placeholder 3"/>
          <p:cNvSpPr>
            <a:spLocks noGrp="1"/>
          </p:cNvSpPr>
          <p:nvPr>
            <p:ph type="body" sz="half" idx="29"/>
          </p:nvPr>
        </p:nvSpPr>
        <p:spPr>
          <a:xfrm>
            <a:off x="6798529" y="1293394"/>
            <a:ext cx="1727003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378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000"/>
                            </p:stCondLst>
                            <p:childTnLst>
                              <p:par>
                                <p:cTn id="8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8500"/>
                            </p:stCondLst>
                            <p:childTnLst>
                              <p:par>
                                <p:cTn id="100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/>
      <p:bldP spid="4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animBg="1"/>
      <p:bldP spid="45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/>
      <p:bldP spid="4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0" animBg="1"/>
      <p:bldP spid="5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/>
      <p:bldP spid="5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9" grpId="0" animBg="1"/>
      <p:bldP spid="60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03083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half" idx="15"/>
          </p:nvPr>
        </p:nvSpPr>
        <p:spPr>
          <a:xfrm>
            <a:off x="452945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7" name="Text Placeholder 3"/>
          <p:cNvSpPr>
            <a:spLocks noGrp="1"/>
          </p:cNvSpPr>
          <p:nvPr>
            <p:ph type="body" sz="half" idx="17"/>
          </p:nvPr>
        </p:nvSpPr>
        <p:spPr>
          <a:xfrm>
            <a:off x="447675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508350" y="1217194"/>
            <a:ext cx="1537336" cy="38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9" name="Text Placeholder 3"/>
          <p:cNvSpPr>
            <a:spLocks noGrp="1"/>
          </p:cNvSpPr>
          <p:nvPr>
            <p:ph type="body" sz="half" idx="16"/>
          </p:nvPr>
        </p:nvSpPr>
        <p:spPr>
          <a:xfrm>
            <a:off x="566260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6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147332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half" idx="19"/>
          </p:nvPr>
        </p:nvSpPr>
        <p:spPr>
          <a:xfrm>
            <a:off x="2097194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5" name="Text Placeholder 3"/>
          <p:cNvSpPr>
            <a:spLocks noGrp="1"/>
          </p:cNvSpPr>
          <p:nvPr>
            <p:ph type="body" sz="half" idx="20"/>
          </p:nvPr>
        </p:nvSpPr>
        <p:spPr>
          <a:xfrm>
            <a:off x="2091924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66" name="Rectangle 65"/>
          <p:cNvSpPr/>
          <p:nvPr userDrawn="1"/>
        </p:nvSpPr>
        <p:spPr>
          <a:xfrm>
            <a:off x="2152599" y="1217194"/>
            <a:ext cx="1537336" cy="38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7" name="Text Placeholder 3"/>
          <p:cNvSpPr>
            <a:spLocks noGrp="1"/>
          </p:cNvSpPr>
          <p:nvPr>
            <p:ph type="body" sz="half" idx="21"/>
          </p:nvPr>
        </p:nvSpPr>
        <p:spPr>
          <a:xfrm>
            <a:off x="2210509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794548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half" idx="23"/>
          </p:nvPr>
        </p:nvSpPr>
        <p:spPr>
          <a:xfrm>
            <a:off x="3744410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ph type="body" sz="half" idx="24"/>
          </p:nvPr>
        </p:nvSpPr>
        <p:spPr>
          <a:xfrm>
            <a:off x="3739140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1" name="Rectangle 70"/>
          <p:cNvSpPr/>
          <p:nvPr userDrawn="1"/>
        </p:nvSpPr>
        <p:spPr>
          <a:xfrm>
            <a:off x="3799815" y="1217194"/>
            <a:ext cx="1537336" cy="381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2" name="Text Placeholder 3"/>
          <p:cNvSpPr>
            <a:spLocks noGrp="1"/>
          </p:cNvSpPr>
          <p:nvPr>
            <p:ph type="body" sz="half" idx="25"/>
          </p:nvPr>
        </p:nvSpPr>
        <p:spPr>
          <a:xfrm>
            <a:off x="3857725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438435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half" idx="27"/>
          </p:nvPr>
        </p:nvSpPr>
        <p:spPr>
          <a:xfrm>
            <a:off x="5388297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ph type="body" sz="half" idx="28"/>
          </p:nvPr>
        </p:nvSpPr>
        <p:spPr>
          <a:xfrm>
            <a:off x="5383027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1" name="Rectangle 80"/>
          <p:cNvSpPr/>
          <p:nvPr userDrawn="1"/>
        </p:nvSpPr>
        <p:spPr>
          <a:xfrm>
            <a:off x="5443702" y="1217194"/>
            <a:ext cx="1537336" cy="381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29"/>
          </p:nvPr>
        </p:nvSpPr>
        <p:spPr>
          <a:xfrm>
            <a:off x="5501612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3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077764" y="1599597"/>
            <a:ext cx="1540591" cy="1892243"/>
          </a:xfrm>
          <a:prstGeom prst="downArrowCallout">
            <a:avLst>
              <a:gd name="adj1" fmla="val 35178"/>
              <a:gd name="adj2" fmla="val 13059"/>
              <a:gd name="adj3" fmla="val 7566"/>
              <a:gd name="adj4" fmla="val 93840"/>
            </a:avLst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31"/>
          </p:nvPr>
        </p:nvSpPr>
        <p:spPr>
          <a:xfrm>
            <a:off x="7027626" y="3794553"/>
            <a:ext cx="1590780" cy="635096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32"/>
          </p:nvPr>
        </p:nvSpPr>
        <p:spPr>
          <a:xfrm>
            <a:off x="7022356" y="3588601"/>
            <a:ext cx="1595234" cy="19278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accent5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86" name="Rectangle 85"/>
          <p:cNvSpPr/>
          <p:nvPr userDrawn="1"/>
        </p:nvSpPr>
        <p:spPr>
          <a:xfrm>
            <a:off x="7083031" y="1217194"/>
            <a:ext cx="1537336" cy="381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33"/>
          </p:nvPr>
        </p:nvSpPr>
        <p:spPr>
          <a:xfrm>
            <a:off x="7140941" y="1307321"/>
            <a:ext cx="1421516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234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0"/>
                            </p:stCondLst>
                            <p:childTnLst>
                              <p:par>
                                <p:cTn id="59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000"/>
                            </p:stCondLst>
                            <p:childTnLst>
                              <p:par>
                                <p:cTn id="82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8500"/>
                            </p:stCondLst>
                            <p:childTnLst>
                              <p:par>
                                <p:cTn id="100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9000"/>
                            </p:stCondLst>
                            <p:childTnLst>
                              <p:par>
                                <p:cTn id="105" presetID="2" presetClass="entr" presetSubtype="1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9500"/>
                            </p:stCondLst>
                            <p:childTnLst>
                              <p:par>
                                <p:cTn id="110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0000"/>
                            </p:stCondLst>
                            <p:childTnLst>
                              <p:par>
                                <p:cTn id="11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23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/>
      <p:bldP spid="7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animBg="1"/>
      <p:bldP spid="79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/>
      <p:bldP spid="6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6" grpId="0" animBg="1"/>
      <p:bldP spid="6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/>
      <p:bldP spid="6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1" grpId="0" animBg="1"/>
      <p:bldP spid="7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/>
      <p:bldP spid="7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0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1" grpId="0" animBg="1"/>
      <p:bldP spid="82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/>
      <p:bldP spid="8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6" grpId="0" animBg="1"/>
      <p:bldP spid="87" grpId="0" build="p">
        <p:tmplLst>
          <p:tmpl lvl="1">
            <p:tnLst>
              <p:par>
                <p:cTn presetID="2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1" name="Group 300"/>
          <p:cNvGrpSpPr/>
          <p:nvPr userDrawn="1"/>
        </p:nvGrpSpPr>
        <p:grpSpPr>
          <a:xfrm>
            <a:off x="459050" y="1404662"/>
            <a:ext cx="3882522" cy="2030568"/>
            <a:chOff x="2844800" y="1304396"/>
            <a:chExt cx="2803525" cy="1466250"/>
          </a:xfrm>
        </p:grpSpPr>
        <p:grpSp>
          <p:nvGrpSpPr>
            <p:cNvPr id="32" name="Group 44"/>
            <p:cNvGrpSpPr/>
            <p:nvPr/>
          </p:nvGrpSpPr>
          <p:grpSpPr>
            <a:xfrm>
              <a:off x="3209925" y="1304396"/>
              <a:ext cx="2073275" cy="1397000"/>
              <a:chOff x="4843457" y="992546"/>
              <a:chExt cx="2073275" cy="1397000"/>
            </a:xfrm>
          </p:grpSpPr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4843457" y="992546"/>
                <a:ext cx="2073275" cy="1397000"/>
              </a:xfrm>
              <a:custGeom>
                <a:avLst/>
                <a:gdLst/>
                <a:ahLst/>
                <a:cxnLst>
                  <a:cxn ang="0">
                    <a:pos x="1146" y="737"/>
                  </a:cxn>
                  <a:cxn ang="0">
                    <a:pos x="1120" y="772"/>
                  </a:cxn>
                  <a:cxn ang="0">
                    <a:pos x="26" y="772"/>
                  </a:cxn>
                  <a:cxn ang="0">
                    <a:pos x="0" y="737"/>
                  </a:cxn>
                  <a:cxn ang="0">
                    <a:pos x="0" y="35"/>
                  </a:cxn>
                  <a:cxn ang="0">
                    <a:pos x="26" y="0"/>
                  </a:cxn>
                  <a:cxn ang="0">
                    <a:pos x="1120" y="0"/>
                  </a:cxn>
                  <a:cxn ang="0">
                    <a:pos x="1146" y="35"/>
                  </a:cxn>
                  <a:cxn ang="0">
                    <a:pos x="1146" y="737"/>
                  </a:cxn>
                </a:cxnLst>
                <a:rect l="0" t="0" r="r" b="b"/>
                <a:pathLst>
                  <a:path w="1146" h="772">
                    <a:moveTo>
                      <a:pt x="1146" y="737"/>
                    </a:moveTo>
                    <a:cubicBezTo>
                      <a:pt x="1146" y="756"/>
                      <a:pt x="1134" y="772"/>
                      <a:pt x="1120" y="772"/>
                    </a:cubicBezTo>
                    <a:cubicBezTo>
                      <a:pt x="26" y="772"/>
                      <a:pt x="26" y="772"/>
                      <a:pt x="26" y="772"/>
                    </a:cubicBezTo>
                    <a:cubicBezTo>
                      <a:pt x="12" y="772"/>
                      <a:pt x="0" y="756"/>
                      <a:pt x="0" y="7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6"/>
                      <a:pt x="12" y="0"/>
                      <a:pt x="26" y="0"/>
                    </a:cubicBezTo>
                    <a:cubicBezTo>
                      <a:pt x="1120" y="0"/>
                      <a:pt x="1120" y="0"/>
                      <a:pt x="1120" y="0"/>
                    </a:cubicBezTo>
                    <a:cubicBezTo>
                      <a:pt x="1134" y="0"/>
                      <a:pt x="1146" y="16"/>
                      <a:pt x="1146" y="35"/>
                    </a:cubicBezTo>
                    <a:cubicBezTo>
                      <a:pt x="1146" y="737"/>
                      <a:pt x="1146" y="737"/>
                      <a:pt x="1146" y="737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13"/>
              <p:cNvSpPr>
                <a:spLocks noChangeArrowheads="1"/>
              </p:cNvSpPr>
              <p:nvPr/>
            </p:nvSpPr>
            <p:spPr bwMode="auto">
              <a:xfrm>
                <a:off x="4926007" y="1068746"/>
                <a:ext cx="1914525" cy="11811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1"/>
              <p:cNvSpPr>
                <a:spLocks/>
              </p:cNvSpPr>
              <p:nvPr/>
            </p:nvSpPr>
            <p:spPr bwMode="auto">
              <a:xfrm>
                <a:off x="4936351" y="1068746"/>
                <a:ext cx="1901825" cy="1089025"/>
              </a:xfrm>
              <a:custGeom>
                <a:avLst/>
                <a:gdLst/>
                <a:ahLst/>
                <a:cxnLst>
                  <a:cxn ang="0">
                    <a:pos x="1198" y="0"/>
                  </a:cxn>
                  <a:cxn ang="0">
                    <a:pos x="0" y="0"/>
                  </a:cxn>
                  <a:cxn ang="0">
                    <a:pos x="1198" y="686"/>
                  </a:cxn>
                  <a:cxn ang="0">
                    <a:pos x="1198" y="0"/>
                  </a:cxn>
                </a:cxnLst>
                <a:rect l="0" t="0" r="r" b="b"/>
                <a:pathLst>
                  <a:path w="1198" h="686">
                    <a:moveTo>
                      <a:pt x="1198" y="0"/>
                    </a:moveTo>
                    <a:lnTo>
                      <a:pt x="0" y="0"/>
                    </a:lnTo>
                    <a:lnTo>
                      <a:pt x="1198" y="686"/>
                    </a:lnTo>
                    <a:lnTo>
                      <a:pt x="1198" y="0"/>
                    </a:lnTo>
                    <a:close/>
                  </a:path>
                </a:pathLst>
              </a:custGeom>
              <a:solidFill>
                <a:schemeClr val="bg1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" name="Group 43"/>
            <p:cNvGrpSpPr/>
            <p:nvPr/>
          </p:nvGrpSpPr>
          <p:grpSpPr>
            <a:xfrm>
              <a:off x="2844800" y="2648409"/>
              <a:ext cx="2803525" cy="122237"/>
              <a:chOff x="4462463" y="2425701"/>
              <a:chExt cx="2803525" cy="122237"/>
            </a:xfrm>
          </p:grpSpPr>
          <p:sp>
            <p:nvSpPr>
              <p:cNvPr id="34" name="Freeform 15"/>
              <p:cNvSpPr>
                <a:spLocks/>
              </p:cNvSpPr>
              <p:nvPr/>
            </p:nvSpPr>
            <p:spPr bwMode="auto">
              <a:xfrm>
                <a:off x="4462463" y="2481263"/>
                <a:ext cx="2800350" cy="6667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68" y="37"/>
                  </a:cxn>
                  <a:cxn ang="0">
                    <a:pos x="1487" y="37"/>
                  </a:cxn>
                  <a:cxn ang="0">
                    <a:pos x="1546" y="12"/>
                  </a:cxn>
                  <a:cxn ang="0">
                    <a:pos x="1547" y="0"/>
                  </a:cxn>
                  <a:cxn ang="0">
                    <a:pos x="10" y="5"/>
                  </a:cxn>
                </a:cxnLst>
                <a:rect l="0" t="0" r="r" b="b"/>
                <a:pathLst>
                  <a:path w="1547" h="37">
                    <a:moveTo>
                      <a:pt x="10" y="5"/>
                    </a:moveTo>
                    <a:cubicBezTo>
                      <a:pt x="10" y="5"/>
                      <a:pt x="0" y="23"/>
                      <a:pt x="68" y="37"/>
                    </a:cubicBezTo>
                    <a:cubicBezTo>
                      <a:pt x="1487" y="37"/>
                      <a:pt x="1487" y="37"/>
                      <a:pt x="1487" y="37"/>
                    </a:cubicBezTo>
                    <a:cubicBezTo>
                      <a:pt x="1487" y="37"/>
                      <a:pt x="1534" y="34"/>
                      <a:pt x="1546" y="12"/>
                    </a:cubicBezTo>
                    <a:cubicBezTo>
                      <a:pt x="1547" y="0"/>
                      <a:pt x="1547" y="0"/>
                      <a:pt x="1547" y="0"/>
                    </a:cubicBez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6"/>
              <p:cNvSpPr>
                <a:spLocks/>
              </p:cNvSpPr>
              <p:nvPr/>
            </p:nvSpPr>
            <p:spPr bwMode="auto">
              <a:xfrm>
                <a:off x="4478338" y="2425701"/>
                <a:ext cx="2787650" cy="841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38"/>
                  </a:cxn>
                  <a:cxn ang="0">
                    <a:pos x="16" y="43"/>
                  </a:cxn>
                  <a:cxn ang="0">
                    <a:pos x="1522" y="43"/>
                  </a:cxn>
                  <a:cxn ang="0">
                    <a:pos x="1538" y="40"/>
                  </a:cxn>
                  <a:cxn ang="0">
                    <a:pos x="1538" y="0"/>
                  </a:cxn>
                  <a:cxn ang="0">
                    <a:pos x="1" y="0"/>
                  </a:cxn>
                </a:cxnLst>
                <a:rect l="0" t="0" r="r" b="b"/>
                <a:pathLst>
                  <a:path w="1540" h="47">
                    <a:moveTo>
                      <a:pt x="1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1" y="47"/>
                      <a:pt x="16" y="43"/>
                      <a:pt x="16" y="43"/>
                    </a:cubicBezTo>
                    <a:cubicBezTo>
                      <a:pt x="1522" y="43"/>
                      <a:pt x="1522" y="43"/>
                      <a:pt x="1522" y="43"/>
                    </a:cubicBezTo>
                    <a:cubicBezTo>
                      <a:pt x="1540" y="45"/>
                      <a:pt x="1538" y="40"/>
                      <a:pt x="1538" y="40"/>
                    </a:cubicBezTo>
                    <a:cubicBezTo>
                      <a:pt x="1538" y="0"/>
                      <a:pt x="1538" y="0"/>
                      <a:pt x="153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adFill>
                <a:gsLst>
                  <a:gs pos="42000">
                    <a:schemeClr val="bg1">
                      <a:lumMod val="75000"/>
                    </a:schemeClr>
                  </a:gs>
                  <a:gs pos="6000">
                    <a:schemeClr val="bg1">
                      <a:lumMod val="85000"/>
                    </a:schemeClr>
                  </a:gs>
                  <a:gs pos="0">
                    <a:schemeClr val="bg1">
                      <a:lumMod val="65000"/>
                    </a:schemeClr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1"/>
              <p:cNvSpPr>
                <a:spLocks/>
              </p:cNvSpPr>
              <p:nvPr/>
            </p:nvSpPr>
            <p:spPr bwMode="auto">
              <a:xfrm>
                <a:off x="5672138" y="2425701"/>
                <a:ext cx="392113" cy="44450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198" y="22"/>
                  </a:cxn>
                  <a:cxn ang="0">
                    <a:pos x="215" y="1"/>
                  </a:cxn>
                  <a:cxn ang="0">
                    <a:pos x="6" y="0"/>
                  </a:cxn>
                  <a:cxn ang="0">
                    <a:pos x="20" y="22"/>
                  </a:cxn>
                </a:cxnLst>
                <a:rect l="0" t="0" r="r" b="b"/>
                <a:pathLst>
                  <a:path w="217" h="25">
                    <a:moveTo>
                      <a:pt x="20" y="22"/>
                    </a:moveTo>
                    <a:cubicBezTo>
                      <a:pt x="198" y="22"/>
                      <a:pt x="198" y="22"/>
                      <a:pt x="198" y="22"/>
                    </a:cubicBezTo>
                    <a:cubicBezTo>
                      <a:pt x="198" y="22"/>
                      <a:pt x="217" y="25"/>
                      <a:pt x="2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20"/>
                      <a:pt x="20" y="2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079022" y="1510190"/>
            <a:ext cx="2651372" cy="163567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269202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/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oup 29"/>
          <p:cNvGrpSpPr/>
          <p:nvPr userDrawn="1"/>
        </p:nvGrpSpPr>
        <p:grpSpPr>
          <a:xfrm>
            <a:off x="3850314" y="1298511"/>
            <a:ext cx="1459144" cy="3116663"/>
            <a:chOff x="3205386" y="1562392"/>
            <a:chExt cx="1459144" cy="3116662"/>
          </a:xfrm>
          <a:effectLst/>
        </p:grpSpPr>
        <p:sp>
          <p:nvSpPr>
            <p:cNvPr id="19" name="Freeform 18"/>
            <p:cNvSpPr/>
            <p:nvPr/>
          </p:nvSpPr>
          <p:spPr>
            <a:xfrm>
              <a:off x="3205386" y="1579715"/>
              <a:ext cx="1459144" cy="3099339"/>
            </a:xfrm>
            <a:custGeom>
              <a:avLst/>
              <a:gdLst>
                <a:gd name="connsiteX0" fmla="*/ 0 w 1459144"/>
                <a:gd name="connsiteY0" fmla="*/ 176060 h 3099339"/>
                <a:gd name="connsiteX1" fmla="*/ 51567 w 1459144"/>
                <a:gd name="connsiteY1" fmla="*/ 51567 h 3099339"/>
                <a:gd name="connsiteX2" fmla="*/ 176060 w 1459144"/>
                <a:gd name="connsiteY2" fmla="*/ 0 h 3099339"/>
                <a:gd name="connsiteX3" fmla="*/ 1283084 w 1459144"/>
                <a:gd name="connsiteY3" fmla="*/ 0 h 3099339"/>
                <a:gd name="connsiteX4" fmla="*/ 1407577 w 1459144"/>
                <a:gd name="connsiteY4" fmla="*/ 51567 h 3099339"/>
                <a:gd name="connsiteX5" fmla="*/ 1459144 w 1459144"/>
                <a:gd name="connsiteY5" fmla="*/ 176060 h 3099339"/>
                <a:gd name="connsiteX6" fmla="*/ 1459144 w 1459144"/>
                <a:gd name="connsiteY6" fmla="*/ 2923279 h 3099339"/>
                <a:gd name="connsiteX7" fmla="*/ 1407577 w 1459144"/>
                <a:gd name="connsiteY7" fmla="*/ 3047772 h 3099339"/>
                <a:gd name="connsiteX8" fmla="*/ 1283084 w 1459144"/>
                <a:gd name="connsiteY8" fmla="*/ 3099339 h 3099339"/>
                <a:gd name="connsiteX9" fmla="*/ 176060 w 1459144"/>
                <a:gd name="connsiteY9" fmla="*/ 3099339 h 3099339"/>
                <a:gd name="connsiteX10" fmla="*/ 51567 w 1459144"/>
                <a:gd name="connsiteY10" fmla="*/ 3047772 h 3099339"/>
                <a:gd name="connsiteX11" fmla="*/ 0 w 1459144"/>
                <a:gd name="connsiteY11" fmla="*/ 2923279 h 3099339"/>
                <a:gd name="connsiteX12" fmla="*/ 0 w 1459144"/>
                <a:gd name="connsiteY12" fmla="*/ 176060 h 309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144" h="3099339">
                  <a:moveTo>
                    <a:pt x="0" y="176060"/>
                  </a:moveTo>
                  <a:cubicBezTo>
                    <a:pt x="0" y="129366"/>
                    <a:pt x="18549" y="84584"/>
                    <a:pt x="51567" y="51567"/>
                  </a:cubicBezTo>
                  <a:cubicBezTo>
                    <a:pt x="84585" y="18549"/>
                    <a:pt x="129366" y="0"/>
                    <a:pt x="176060" y="0"/>
                  </a:cubicBezTo>
                  <a:lnTo>
                    <a:pt x="1283084" y="0"/>
                  </a:lnTo>
                  <a:cubicBezTo>
                    <a:pt x="1329778" y="0"/>
                    <a:pt x="1374560" y="18549"/>
                    <a:pt x="1407577" y="51567"/>
                  </a:cubicBezTo>
                  <a:cubicBezTo>
                    <a:pt x="1440595" y="84585"/>
                    <a:pt x="1459144" y="129366"/>
                    <a:pt x="1459144" y="176060"/>
                  </a:cubicBezTo>
                  <a:lnTo>
                    <a:pt x="1459144" y="2923279"/>
                  </a:lnTo>
                  <a:cubicBezTo>
                    <a:pt x="1459144" y="2969973"/>
                    <a:pt x="1440595" y="3014755"/>
                    <a:pt x="1407577" y="3047772"/>
                  </a:cubicBezTo>
                  <a:cubicBezTo>
                    <a:pt x="1374559" y="3080790"/>
                    <a:pt x="1329778" y="3099339"/>
                    <a:pt x="1283084" y="3099339"/>
                  </a:cubicBezTo>
                  <a:lnTo>
                    <a:pt x="176060" y="3099339"/>
                  </a:lnTo>
                  <a:cubicBezTo>
                    <a:pt x="129366" y="3099339"/>
                    <a:pt x="84584" y="3080790"/>
                    <a:pt x="51567" y="3047772"/>
                  </a:cubicBezTo>
                  <a:cubicBezTo>
                    <a:pt x="18549" y="3014754"/>
                    <a:pt x="0" y="2969973"/>
                    <a:pt x="0" y="2923279"/>
                  </a:cubicBezTo>
                  <a:lnTo>
                    <a:pt x="0" y="17606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3806686" y="4332856"/>
              <a:ext cx="256543" cy="261216"/>
            </a:xfrm>
            <a:custGeom>
              <a:avLst/>
              <a:gdLst>
                <a:gd name="connsiteX0" fmla="*/ 0 w 256543"/>
                <a:gd name="connsiteY0" fmla="*/ 130608 h 261216"/>
                <a:gd name="connsiteX1" fmla="*/ 36755 w 256543"/>
                <a:gd name="connsiteY1" fmla="*/ 39091 h 261216"/>
                <a:gd name="connsiteX2" fmla="*/ 128272 w 256543"/>
                <a:gd name="connsiteY2" fmla="*/ 0 h 261216"/>
                <a:gd name="connsiteX3" fmla="*/ 219789 w 256543"/>
                <a:gd name="connsiteY3" fmla="*/ 39091 h 261216"/>
                <a:gd name="connsiteX4" fmla="*/ 256544 w 256543"/>
                <a:gd name="connsiteY4" fmla="*/ 130608 h 261216"/>
                <a:gd name="connsiteX5" fmla="*/ 219789 w 256543"/>
                <a:gd name="connsiteY5" fmla="*/ 222125 h 261216"/>
                <a:gd name="connsiteX6" fmla="*/ 128272 w 256543"/>
                <a:gd name="connsiteY6" fmla="*/ 261216 h 261216"/>
                <a:gd name="connsiteX7" fmla="*/ 36755 w 256543"/>
                <a:gd name="connsiteY7" fmla="*/ 222125 h 261216"/>
                <a:gd name="connsiteX8" fmla="*/ 0 w 256543"/>
                <a:gd name="connsiteY8" fmla="*/ 130608 h 2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543" h="261216">
                  <a:moveTo>
                    <a:pt x="0" y="130608"/>
                  </a:moveTo>
                  <a:cubicBezTo>
                    <a:pt x="0" y="96377"/>
                    <a:pt x="13199" y="63514"/>
                    <a:pt x="36755" y="39091"/>
                  </a:cubicBezTo>
                  <a:cubicBezTo>
                    <a:pt x="60874" y="14086"/>
                    <a:pt x="93851" y="0"/>
                    <a:pt x="128272" y="0"/>
                  </a:cubicBezTo>
                  <a:cubicBezTo>
                    <a:pt x="162693" y="0"/>
                    <a:pt x="195670" y="14086"/>
                    <a:pt x="219789" y="39091"/>
                  </a:cubicBezTo>
                  <a:cubicBezTo>
                    <a:pt x="243346" y="63514"/>
                    <a:pt x="256544" y="96377"/>
                    <a:pt x="256544" y="130608"/>
                  </a:cubicBezTo>
                  <a:cubicBezTo>
                    <a:pt x="256544" y="164839"/>
                    <a:pt x="243345" y="197702"/>
                    <a:pt x="219789" y="222125"/>
                  </a:cubicBezTo>
                  <a:cubicBezTo>
                    <a:pt x="195670" y="247130"/>
                    <a:pt x="162693" y="261216"/>
                    <a:pt x="128272" y="261216"/>
                  </a:cubicBezTo>
                  <a:cubicBezTo>
                    <a:pt x="93851" y="261216"/>
                    <a:pt x="60874" y="247130"/>
                    <a:pt x="36755" y="222125"/>
                  </a:cubicBezTo>
                  <a:cubicBezTo>
                    <a:pt x="13198" y="197702"/>
                    <a:pt x="0" y="164839"/>
                    <a:pt x="0" y="130608"/>
                  </a:cubicBezTo>
                  <a:close/>
                </a:path>
              </a:pathLst>
            </a:cu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3306742" y="1997538"/>
              <a:ext cx="1256433" cy="2276759"/>
            </a:xfrm>
            <a:custGeom>
              <a:avLst/>
              <a:gdLst>
                <a:gd name="connsiteX0" fmla="*/ 0 w 1256433"/>
                <a:gd name="connsiteY0" fmla="*/ 0 h 2276759"/>
                <a:gd name="connsiteX1" fmla="*/ 1256433 w 1256433"/>
                <a:gd name="connsiteY1" fmla="*/ 0 h 2276759"/>
                <a:gd name="connsiteX2" fmla="*/ 1256433 w 1256433"/>
                <a:gd name="connsiteY2" fmla="*/ 2276759 h 2276759"/>
                <a:gd name="connsiteX3" fmla="*/ 0 w 1256433"/>
                <a:gd name="connsiteY3" fmla="*/ 2276759 h 2276759"/>
                <a:gd name="connsiteX4" fmla="*/ 0 w 1256433"/>
                <a:gd name="connsiteY4" fmla="*/ 0 h 227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6433" h="2276759">
                  <a:moveTo>
                    <a:pt x="0" y="0"/>
                  </a:moveTo>
                  <a:lnTo>
                    <a:pt x="1256433" y="0"/>
                  </a:lnTo>
                  <a:lnTo>
                    <a:pt x="1256433" y="2276759"/>
                  </a:lnTo>
                  <a:lnTo>
                    <a:pt x="0" y="2276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3796931" y="1824436"/>
              <a:ext cx="276054" cy="32124"/>
            </a:xfrm>
            <a:custGeom>
              <a:avLst/>
              <a:gdLst>
                <a:gd name="connsiteX0" fmla="*/ 0 w 276054"/>
                <a:gd name="connsiteY0" fmla="*/ 16062 h 32124"/>
                <a:gd name="connsiteX1" fmla="*/ 4704 w 276054"/>
                <a:gd name="connsiteY1" fmla="*/ 4704 h 32124"/>
                <a:gd name="connsiteX2" fmla="*/ 16062 w 276054"/>
                <a:gd name="connsiteY2" fmla="*/ 0 h 32124"/>
                <a:gd name="connsiteX3" fmla="*/ 259992 w 276054"/>
                <a:gd name="connsiteY3" fmla="*/ 0 h 32124"/>
                <a:gd name="connsiteX4" fmla="*/ 271350 w 276054"/>
                <a:gd name="connsiteY4" fmla="*/ 4704 h 32124"/>
                <a:gd name="connsiteX5" fmla="*/ 276054 w 276054"/>
                <a:gd name="connsiteY5" fmla="*/ 16062 h 32124"/>
                <a:gd name="connsiteX6" fmla="*/ 276054 w 276054"/>
                <a:gd name="connsiteY6" fmla="*/ 16062 h 32124"/>
                <a:gd name="connsiteX7" fmla="*/ 271350 w 276054"/>
                <a:gd name="connsiteY7" fmla="*/ 27420 h 32124"/>
                <a:gd name="connsiteX8" fmla="*/ 259992 w 276054"/>
                <a:gd name="connsiteY8" fmla="*/ 32124 h 32124"/>
                <a:gd name="connsiteX9" fmla="*/ 16062 w 276054"/>
                <a:gd name="connsiteY9" fmla="*/ 32124 h 32124"/>
                <a:gd name="connsiteX10" fmla="*/ 4704 w 276054"/>
                <a:gd name="connsiteY10" fmla="*/ 27420 h 32124"/>
                <a:gd name="connsiteX11" fmla="*/ 0 w 276054"/>
                <a:gd name="connsiteY11" fmla="*/ 16062 h 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6054" h="32124">
                  <a:moveTo>
                    <a:pt x="0" y="16062"/>
                  </a:moveTo>
                  <a:cubicBezTo>
                    <a:pt x="0" y="11802"/>
                    <a:pt x="1692" y="7717"/>
                    <a:pt x="4704" y="4704"/>
                  </a:cubicBezTo>
                  <a:cubicBezTo>
                    <a:pt x="7716" y="1692"/>
                    <a:pt x="11802" y="0"/>
                    <a:pt x="16062" y="0"/>
                  </a:cubicBezTo>
                  <a:lnTo>
                    <a:pt x="259992" y="0"/>
                  </a:lnTo>
                  <a:cubicBezTo>
                    <a:pt x="264252" y="0"/>
                    <a:pt x="268337" y="1692"/>
                    <a:pt x="271350" y="4704"/>
                  </a:cubicBezTo>
                  <a:cubicBezTo>
                    <a:pt x="274362" y="7716"/>
                    <a:pt x="276054" y="11802"/>
                    <a:pt x="276054" y="16062"/>
                  </a:cubicBezTo>
                  <a:lnTo>
                    <a:pt x="276054" y="16062"/>
                  </a:lnTo>
                  <a:cubicBezTo>
                    <a:pt x="276054" y="20322"/>
                    <a:pt x="274362" y="24407"/>
                    <a:pt x="271350" y="27420"/>
                  </a:cubicBezTo>
                  <a:cubicBezTo>
                    <a:pt x="268338" y="30432"/>
                    <a:pt x="264252" y="32124"/>
                    <a:pt x="259992" y="32124"/>
                  </a:cubicBezTo>
                  <a:lnTo>
                    <a:pt x="16062" y="32124"/>
                  </a:lnTo>
                  <a:cubicBezTo>
                    <a:pt x="11802" y="32124"/>
                    <a:pt x="7717" y="30432"/>
                    <a:pt x="4704" y="27420"/>
                  </a:cubicBezTo>
                  <a:cubicBezTo>
                    <a:pt x="1692" y="24408"/>
                    <a:pt x="0" y="20322"/>
                    <a:pt x="0" y="1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3911556" y="1704426"/>
              <a:ext cx="46804" cy="47657"/>
            </a:xfrm>
            <a:custGeom>
              <a:avLst/>
              <a:gdLst>
                <a:gd name="connsiteX0" fmla="*/ 0 w 46804"/>
                <a:gd name="connsiteY0" fmla="*/ 23829 h 47657"/>
                <a:gd name="connsiteX1" fmla="*/ 6705 w 46804"/>
                <a:gd name="connsiteY1" fmla="*/ 7132 h 47657"/>
                <a:gd name="connsiteX2" fmla="*/ 23402 w 46804"/>
                <a:gd name="connsiteY2" fmla="*/ 0 h 47657"/>
                <a:gd name="connsiteX3" fmla="*/ 40099 w 46804"/>
                <a:gd name="connsiteY3" fmla="*/ 7132 h 47657"/>
                <a:gd name="connsiteX4" fmla="*/ 46804 w 46804"/>
                <a:gd name="connsiteY4" fmla="*/ 23829 h 47657"/>
                <a:gd name="connsiteX5" fmla="*/ 40099 w 46804"/>
                <a:gd name="connsiteY5" fmla="*/ 40526 h 47657"/>
                <a:gd name="connsiteX6" fmla="*/ 23402 w 46804"/>
                <a:gd name="connsiteY6" fmla="*/ 47658 h 47657"/>
                <a:gd name="connsiteX7" fmla="*/ 6705 w 46804"/>
                <a:gd name="connsiteY7" fmla="*/ 40526 h 47657"/>
                <a:gd name="connsiteX8" fmla="*/ 0 w 46804"/>
                <a:gd name="connsiteY8" fmla="*/ 23829 h 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04" h="47657">
                  <a:moveTo>
                    <a:pt x="0" y="23829"/>
                  </a:moveTo>
                  <a:cubicBezTo>
                    <a:pt x="0" y="17584"/>
                    <a:pt x="2408" y="11588"/>
                    <a:pt x="6705" y="7132"/>
                  </a:cubicBezTo>
                  <a:cubicBezTo>
                    <a:pt x="11105" y="2570"/>
                    <a:pt x="17122" y="0"/>
                    <a:pt x="23402" y="0"/>
                  </a:cubicBezTo>
                  <a:cubicBezTo>
                    <a:pt x="29682" y="0"/>
                    <a:pt x="35698" y="2570"/>
                    <a:pt x="40099" y="7132"/>
                  </a:cubicBezTo>
                  <a:cubicBezTo>
                    <a:pt x="44397" y="11588"/>
                    <a:pt x="46804" y="17583"/>
                    <a:pt x="46804" y="23829"/>
                  </a:cubicBezTo>
                  <a:cubicBezTo>
                    <a:pt x="46804" y="30074"/>
                    <a:pt x="44396" y="36070"/>
                    <a:pt x="40099" y="40526"/>
                  </a:cubicBezTo>
                  <a:cubicBezTo>
                    <a:pt x="35699" y="45088"/>
                    <a:pt x="29682" y="47658"/>
                    <a:pt x="23402" y="47658"/>
                  </a:cubicBezTo>
                  <a:cubicBezTo>
                    <a:pt x="17122" y="47658"/>
                    <a:pt x="11106" y="45088"/>
                    <a:pt x="6705" y="40526"/>
                  </a:cubicBezTo>
                  <a:cubicBezTo>
                    <a:pt x="2407" y="36070"/>
                    <a:pt x="0" y="30075"/>
                    <a:pt x="0" y="238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4293042" y="1562392"/>
              <a:ext cx="198758" cy="40154"/>
            </a:xfrm>
            <a:custGeom>
              <a:avLst/>
              <a:gdLst>
                <a:gd name="connsiteX0" fmla="*/ 0 w 198758"/>
                <a:gd name="connsiteY0" fmla="*/ 0 h 40154"/>
                <a:gd name="connsiteX1" fmla="*/ 198758 w 198758"/>
                <a:gd name="connsiteY1" fmla="*/ 0 h 40154"/>
                <a:gd name="connsiteX2" fmla="*/ 198758 w 198758"/>
                <a:gd name="connsiteY2" fmla="*/ 40154 h 40154"/>
                <a:gd name="connsiteX3" fmla="*/ 0 w 198758"/>
                <a:gd name="connsiteY3" fmla="*/ 40154 h 40154"/>
                <a:gd name="connsiteX4" fmla="*/ 0 w 198758"/>
                <a:gd name="connsiteY4" fmla="*/ 0 h 4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58" h="40154">
                  <a:moveTo>
                    <a:pt x="0" y="0"/>
                  </a:moveTo>
                  <a:lnTo>
                    <a:pt x="198758" y="0"/>
                  </a:lnTo>
                  <a:lnTo>
                    <a:pt x="198758" y="40154"/>
                  </a:lnTo>
                  <a:lnTo>
                    <a:pt x="0" y="401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951670" y="1727613"/>
            <a:ext cx="1256433" cy="2282803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268811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89DFEC-7797-457D-8DC0-93D0FFF07B41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2019-11-25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>
                <a:solidFill>
                  <a:prstClr val="black">
                    <a:tint val="75000"/>
                  </a:prstClr>
                </a:solidFill>
              </a:rPr>
              <a:t>COPYRIGHT </a:t>
            </a:r>
            <a:r>
              <a:rPr lang="sk-SK">
                <a:solidFill>
                  <a:prstClr val="black">
                    <a:tint val="75000"/>
                  </a:prstClr>
                </a:solidFill>
              </a:rPr>
              <a:t>© 2018 </a:t>
            </a:r>
            <a:r>
              <a:rPr lang="en-CA">
                <a:solidFill>
                  <a:prstClr val="black">
                    <a:tint val="75000"/>
                  </a:prstClr>
                </a:solidFill>
              </a:rPr>
              <a:t>MARS INCORPORATED |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B8A89-AE5B-4A7A-ABF7-B35292E08C3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96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ckUp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 userDrawn="1"/>
        </p:nvSpPr>
        <p:spPr>
          <a:xfrm>
            <a:off x="0" y="3273754"/>
            <a:ext cx="9144000" cy="186974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Line buttom"/>
          <p:cNvCxnSpPr/>
          <p:nvPr userDrawn="1"/>
        </p:nvCxnSpPr>
        <p:spPr>
          <a:xfrm>
            <a:off x="0" y="3273754"/>
            <a:ext cx="914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 userDrawn="1"/>
        </p:nvGrpSpPr>
        <p:grpSpPr>
          <a:xfrm>
            <a:off x="3328989" y="1450783"/>
            <a:ext cx="2552732" cy="2031086"/>
            <a:chOff x="2094899" y="1081795"/>
            <a:chExt cx="4400683" cy="3501414"/>
          </a:xfrm>
        </p:grpSpPr>
        <p:sp>
          <p:nvSpPr>
            <p:cNvPr id="20" name="Rectangle 19"/>
            <p:cNvSpPr/>
            <p:nvPr/>
          </p:nvSpPr>
          <p:spPr>
            <a:xfrm>
              <a:off x="2261198" y="1247618"/>
              <a:ext cx="4081379" cy="2259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31" name="Freeform 5"/>
            <p:cNvSpPr>
              <a:spLocks noEditPoints="1"/>
            </p:cNvSpPr>
            <p:nvPr/>
          </p:nvSpPr>
          <p:spPr bwMode="auto">
            <a:xfrm>
              <a:off x="2094899" y="1081795"/>
              <a:ext cx="4400683" cy="2608522"/>
            </a:xfrm>
            <a:custGeom>
              <a:avLst/>
              <a:gdLst/>
              <a:ahLst/>
              <a:cxnLst>
                <a:cxn ang="0">
                  <a:pos x="1757" y="0"/>
                </a:cxn>
                <a:cxn ang="0">
                  <a:pos x="921" y="0"/>
                </a:cxn>
                <a:cxn ang="0">
                  <a:pos x="893" y="0"/>
                </a:cxn>
                <a:cxn ang="0">
                  <a:pos x="56" y="0"/>
                </a:cxn>
                <a:cxn ang="0">
                  <a:pos x="0" y="47"/>
                </a:cxn>
                <a:cxn ang="0">
                  <a:pos x="0" y="1076"/>
                </a:cxn>
                <a:cxn ang="0">
                  <a:pos x="1816" y="1076"/>
                </a:cxn>
                <a:cxn ang="0">
                  <a:pos x="1816" y="47"/>
                </a:cxn>
                <a:cxn ang="0">
                  <a:pos x="1757" y="0"/>
                </a:cxn>
                <a:cxn ang="0">
                  <a:pos x="1732" y="1000"/>
                </a:cxn>
                <a:cxn ang="0">
                  <a:pos x="76" y="1000"/>
                </a:cxn>
                <a:cxn ang="0">
                  <a:pos x="76" y="68"/>
                </a:cxn>
                <a:cxn ang="0">
                  <a:pos x="1732" y="68"/>
                </a:cxn>
                <a:cxn ang="0">
                  <a:pos x="1732" y="1000"/>
                </a:cxn>
              </a:cxnLst>
              <a:rect l="0" t="0" r="r" b="b"/>
              <a:pathLst>
                <a:path w="1816" h="1076">
                  <a:moveTo>
                    <a:pt x="1757" y="0"/>
                  </a:moveTo>
                  <a:cubicBezTo>
                    <a:pt x="921" y="0"/>
                    <a:pt x="921" y="0"/>
                    <a:pt x="921" y="0"/>
                  </a:cubicBezTo>
                  <a:cubicBezTo>
                    <a:pt x="893" y="0"/>
                    <a:pt x="893" y="0"/>
                    <a:pt x="89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7" y="0"/>
                    <a:pt x="0" y="17"/>
                    <a:pt x="0" y="47"/>
                  </a:cubicBezTo>
                  <a:cubicBezTo>
                    <a:pt x="0" y="1076"/>
                    <a:pt x="0" y="1076"/>
                    <a:pt x="0" y="1076"/>
                  </a:cubicBezTo>
                  <a:cubicBezTo>
                    <a:pt x="1816" y="1076"/>
                    <a:pt x="1816" y="1076"/>
                    <a:pt x="1816" y="1076"/>
                  </a:cubicBezTo>
                  <a:cubicBezTo>
                    <a:pt x="1816" y="47"/>
                    <a:pt x="1816" y="47"/>
                    <a:pt x="1816" y="47"/>
                  </a:cubicBezTo>
                  <a:cubicBezTo>
                    <a:pt x="1816" y="17"/>
                    <a:pt x="1787" y="0"/>
                    <a:pt x="1757" y="0"/>
                  </a:cubicBezTo>
                  <a:moveTo>
                    <a:pt x="1732" y="1000"/>
                  </a:moveTo>
                  <a:cubicBezTo>
                    <a:pt x="76" y="1000"/>
                    <a:pt x="76" y="1000"/>
                    <a:pt x="76" y="100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732" y="68"/>
                    <a:pt x="1732" y="68"/>
                    <a:pt x="1732" y="68"/>
                  </a:cubicBezTo>
                  <a:cubicBezTo>
                    <a:pt x="1732" y="1000"/>
                    <a:pt x="1732" y="1000"/>
                    <a:pt x="1732" y="1000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/>
            </a:p>
          </p:txBody>
        </p:sp>
        <p:sp>
          <p:nvSpPr>
            <p:cNvPr id="33" name="Freeform 23"/>
            <p:cNvSpPr>
              <a:spLocks/>
            </p:cNvSpPr>
            <p:nvPr/>
          </p:nvSpPr>
          <p:spPr bwMode="auto">
            <a:xfrm>
              <a:off x="2311744" y="1247618"/>
              <a:ext cx="3979748" cy="2259869"/>
            </a:xfrm>
            <a:custGeom>
              <a:avLst/>
              <a:gdLst/>
              <a:ahLst/>
              <a:cxnLst>
                <a:cxn ang="0">
                  <a:pos x="1872" y="0"/>
                </a:cxn>
                <a:cxn ang="0">
                  <a:pos x="0" y="0"/>
                </a:cxn>
                <a:cxn ang="0">
                  <a:pos x="1872" y="1063"/>
                </a:cxn>
                <a:cxn ang="0">
                  <a:pos x="1872" y="0"/>
                </a:cxn>
              </a:cxnLst>
              <a:rect l="0" t="0" r="r" b="b"/>
              <a:pathLst>
                <a:path w="1872" h="1063">
                  <a:moveTo>
                    <a:pt x="1872" y="0"/>
                  </a:moveTo>
                  <a:lnTo>
                    <a:pt x="0" y="0"/>
                  </a:lnTo>
                  <a:lnTo>
                    <a:pt x="1872" y="1063"/>
                  </a:lnTo>
                  <a:lnTo>
                    <a:pt x="1872" y="0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/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auto">
            <a:xfrm>
              <a:off x="2094899" y="3690315"/>
              <a:ext cx="4400683" cy="397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0"/>
                </a:cxn>
                <a:cxn ang="0">
                  <a:pos x="56" y="164"/>
                </a:cxn>
                <a:cxn ang="0">
                  <a:pos x="893" y="164"/>
                </a:cxn>
                <a:cxn ang="0">
                  <a:pos x="921" y="164"/>
                </a:cxn>
                <a:cxn ang="0">
                  <a:pos x="1757" y="164"/>
                </a:cxn>
                <a:cxn ang="0">
                  <a:pos x="1816" y="100"/>
                </a:cxn>
                <a:cxn ang="0">
                  <a:pos x="1816" y="0"/>
                </a:cxn>
                <a:cxn ang="0">
                  <a:pos x="0" y="0"/>
                </a:cxn>
              </a:cxnLst>
              <a:rect l="0" t="0" r="r" b="b"/>
              <a:pathLst>
                <a:path w="1816" h="164">
                  <a:moveTo>
                    <a:pt x="0" y="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30"/>
                    <a:pt x="27" y="164"/>
                    <a:pt x="56" y="164"/>
                  </a:cubicBezTo>
                  <a:cubicBezTo>
                    <a:pt x="893" y="164"/>
                    <a:pt x="893" y="164"/>
                    <a:pt x="893" y="164"/>
                  </a:cubicBezTo>
                  <a:cubicBezTo>
                    <a:pt x="921" y="164"/>
                    <a:pt x="921" y="164"/>
                    <a:pt x="921" y="164"/>
                  </a:cubicBezTo>
                  <a:cubicBezTo>
                    <a:pt x="1757" y="164"/>
                    <a:pt x="1757" y="164"/>
                    <a:pt x="1757" y="164"/>
                  </a:cubicBezTo>
                  <a:cubicBezTo>
                    <a:pt x="1787" y="164"/>
                    <a:pt x="1816" y="130"/>
                    <a:pt x="1816" y="100"/>
                  </a:cubicBezTo>
                  <a:cubicBezTo>
                    <a:pt x="1816" y="0"/>
                    <a:pt x="1816" y="0"/>
                    <a:pt x="181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83000">
                  <a:schemeClr val="bg1">
                    <a:lumMod val="75000"/>
                  </a:schemeClr>
                </a:gs>
                <a:gs pos="54000">
                  <a:schemeClr val="bg1">
                    <a:lumMod val="85000"/>
                  </a:schemeClr>
                </a:gs>
              </a:gsLst>
              <a:lin ang="18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r>
                <a:rPr lang="en-US"/>
                <a:t> </a:t>
              </a: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auto">
            <a:xfrm>
              <a:off x="3506519" y="4087866"/>
              <a:ext cx="1590198" cy="495343"/>
            </a:xfrm>
            <a:custGeom>
              <a:avLst/>
              <a:gdLst/>
              <a:ahLst/>
              <a:cxnLst>
                <a:cxn ang="0">
                  <a:pos x="335" y="0"/>
                </a:cxn>
                <a:cxn ang="0">
                  <a:pos x="322" y="0"/>
                </a:cxn>
                <a:cxn ang="0">
                  <a:pos x="143" y="0"/>
                </a:cxn>
                <a:cxn ang="0">
                  <a:pos x="102" y="128"/>
                </a:cxn>
                <a:cxn ang="0">
                  <a:pos x="108" y="204"/>
                </a:cxn>
                <a:cxn ang="0">
                  <a:pos x="322" y="204"/>
                </a:cxn>
                <a:cxn ang="0">
                  <a:pos x="335" y="204"/>
                </a:cxn>
                <a:cxn ang="0">
                  <a:pos x="549" y="204"/>
                </a:cxn>
                <a:cxn ang="0">
                  <a:pos x="555" y="128"/>
                </a:cxn>
                <a:cxn ang="0">
                  <a:pos x="513" y="0"/>
                </a:cxn>
                <a:cxn ang="0">
                  <a:pos x="335" y="0"/>
                </a:cxn>
              </a:cxnLst>
              <a:rect l="0" t="0" r="r" b="b"/>
              <a:pathLst>
                <a:path w="656" h="204">
                  <a:moveTo>
                    <a:pt x="335" y="0"/>
                  </a:moveTo>
                  <a:cubicBezTo>
                    <a:pt x="322" y="0"/>
                    <a:pt x="322" y="0"/>
                    <a:pt x="32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2" y="88"/>
                    <a:pt x="102" y="128"/>
                  </a:cubicBezTo>
                  <a:cubicBezTo>
                    <a:pt x="62" y="169"/>
                    <a:pt x="0" y="204"/>
                    <a:pt x="108" y="204"/>
                  </a:cubicBezTo>
                  <a:cubicBezTo>
                    <a:pt x="322" y="204"/>
                    <a:pt x="322" y="204"/>
                    <a:pt x="322" y="204"/>
                  </a:cubicBezTo>
                  <a:cubicBezTo>
                    <a:pt x="335" y="204"/>
                    <a:pt x="335" y="204"/>
                    <a:pt x="335" y="204"/>
                  </a:cubicBezTo>
                  <a:cubicBezTo>
                    <a:pt x="549" y="204"/>
                    <a:pt x="549" y="204"/>
                    <a:pt x="549" y="204"/>
                  </a:cubicBezTo>
                  <a:cubicBezTo>
                    <a:pt x="656" y="204"/>
                    <a:pt x="594" y="169"/>
                    <a:pt x="555" y="128"/>
                  </a:cubicBezTo>
                  <a:cubicBezTo>
                    <a:pt x="515" y="88"/>
                    <a:pt x="513" y="0"/>
                    <a:pt x="513" y="0"/>
                  </a:cubicBezTo>
                  <a:lnTo>
                    <a:pt x="335" y="0"/>
                  </a:lnTo>
                  <a:close/>
                </a:path>
              </a:pathLst>
            </a:custGeom>
            <a:gradFill>
              <a:gsLst>
                <a:gs pos="42000">
                  <a:schemeClr val="bg1">
                    <a:lumMod val="75000"/>
                  </a:schemeClr>
                </a:gs>
                <a:gs pos="6000">
                  <a:schemeClr val="bg1">
                    <a:lumMod val="8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/>
            </a:p>
          </p:txBody>
        </p:sp>
      </p:grp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445151" y="1546974"/>
            <a:ext cx="2318183" cy="1310896"/>
          </a:xfrm>
          <a:prstGeom prst="rect">
            <a:avLst/>
          </a:prstGeom>
          <a:ln>
            <a:noFill/>
          </a:ln>
        </p:spPr>
        <p:txBody>
          <a:bodyPr tIns="0" bIns="27432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854467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/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8" name="Straight Line buttom"/>
          <p:cNvCxnSpPr/>
          <p:nvPr userDrawn="1"/>
        </p:nvCxnSpPr>
        <p:spPr>
          <a:xfrm>
            <a:off x="0" y="3272559"/>
            <a:ext cx="9144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 userDrawn="1"/>
        </p:nvSpPr>
        <p:spPr>
          <a:xfrm>
            <a:off x="0" y="3273754"/>
            <a:ext cx="9144000" cy="18697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29"/>
          <p:cNvGrpSpPr/>
          <p:nvPr userDrawn="1"/>
        </p:nvGrpSpPr>
        <p:grpSpPr>
          <a:xfrm>
            <a:off x="677589" y="1073968"/>
            <a:ext cx="1647737" cy="3481853"/>
            <a:chOff x="3189614" y="1562392"/>
            <a:chExt cx="1474916" cy="3116662"/>
          </a:xfrm>
          <a:effectLst/>
        </p:grpSpPr>
        <p:sp>
          <p:nvSpPr>
            <p:cNvPr id="33" name="Freeform 32"/>
            <p:cNvSpPr/>
            <p:nvPr/>
          </p:nvSpPr>
          <p:spPr>
            <a:xfrm>
              <a:off x="3205386" y="1579715"/>
              <a:ext cx="1459144" cy="3099339"/>
            </a:xfrm>
            <a:custGeom>
              <a:avLst/>
              <a:gdLst>
                <a:gd name="connsiteX0" fmla="*/ 0 w 1459144"/>
                <a:gd name="connsiteY0" fmla="*/ 176060 h 3099339"/>
                <a:gd name="connsiteX1" fmla="*/ 51567 w 1459144"/>
                <a:gd name="connsiteY1" fmla="*/ 51567 h 3099339"/>
                <a:gd name="connsiteX2" fmla="*/ 176060 w 1459144"/>
                <a:gd name="connsiteY2" fmla="*/ 0 h 3099339"/>
                <a:gd name="connsiteX3" fmla="*/ 1283084 w 1459144"/>
                <a:gd name="connsiteY3" fmla="*/ 0 h 3099339"/>
                <a:gd name="connsiteX4" fmla="*/ 1407577 w 1459144"/>
                <a:gd name="connsiteY4" fmla="*/ 51567 h 3099339"/>
                <a:gd name="connsiteX5" fmla="*/ 1459144 w 1459144"/>
                <a:gd name="connsiteY5" fmla="*/ 176060 h 3099339"/>
                <a:gd name="connsiteX6" fmla="*/ 1459144 w 1459144"/>
                <a:gd name="connsiteY6" fmla="*/ 2923279 h 3099339"/>
                <a:gd name="connsiteX7" fmla="*/ 1407577 w 1459144"/>
                <a:gd name="connsiteY7" fmla="*/ 3047772 h 3099339"/>
                <a:gd name="connsiteX8" fmla="*/ 1283084 w 1459144"/>
                <a:gd name="connsiteY8" fmla="*/ 3099339 h 3099339"/>
                <a:gd name="connsiteX9" fmla="*/ 176060 w 1459144"/>
                <a:gd name="connsiteY9" fmla="*/ 3099339 h 3099339"/>
                <a:gd name="connsiteX10" fmla="*/ 51567 w 1459144"/>
                <a:gd name="connsiteY10" fmla="*/ 3047772 h 3099339"/>
                <a:gd name="connsiteX11" fmla="*/ 0 w 1459144"/>
                <a:gd name="connsiteY11" fmla="*/ 2923279 h 3099339"/>
                <a:gd name="connsiteX12" fmla="*/ 0 w 1459144"/>
                <a:gd name="connsiteY12" fmla="*/ 176060 h 309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144" h="3099339">
                  <a:moveTo>
                    <a:pt x="0" y="176060"/>
                  </a:moveTo>
                  <a:cubicBezTo>
                    <a:pt x="0" y="129366"/>
                    <a:pt x="18549" y="84584"/>
                    <a:pt x="51567" y="51567"/>
                  </a:cubicBezTo>
                  <a:cubicBezTo>
                    <a:pt x="84585" y="18549"/>
                    <a:pt x="129366" y="0"/>
                    <a:pt x="176060" y="0"/>
                  </a:cubicBezTo>
                  <a:lnTo>
                    <a:pt x="1283084" y="0"/>
                  </a:lnTo>
                  <a:cubicBezTo>
                    <a:pt x="1329778" y="0"/>
                    <a:pt x="1374560" y="18549"/>
                    <a:pt x="1407577" y="51567"/>
                  </a:cubicBezTo>
                  <a:cubicBezTo>
                    <a:pt x="1440595" y="84585"/>
                    <a:pt x="1459144" y="129366"/>
                    <a:pt x="1459144" y="176060"/>
                  </a:cubicBezTo>
                  <a:lnTo>
                    <a:pt x="1459144" y="2923279"/>
                  </a:lnTo>
                  <a:cubicBezTo>
                    <a:pt x="1459144" y="2969973"/>
                    <a:pt x="1440595" y="3014755"/>
                    <a:pt x="1407577" y="3047772"/>
                  </a:cubicBezTo>
                  <a:cubicBezTo>
                    <a:pt x="1374559" y="3080790"/>
                    <a:pt x="1329778" y="3099339"/>
                    <a:pt x="1283084" y="3099339"/>
                  </a:cubicBezTo>
                  <a:lnTo>
                    <a:pt x="176060" y="3099339"/>
                  </a:lnTo>
                  <a:cubicBezTo>
                    <a:pt x="129366" y="3099339"/>
                    <a:pt x="84584" y="3080790"/>
                    <a:pt x="51567" y="3047772"/>
                  </a:cubicBezTo>
                  <a:cubicBezTo>
                    <a:pt x="18549" y="3014754"/>
                    <a:pt x="0" y="2969973"/>
                    <a:pt x="0" y="2923279"/>
                  </a:cubicBezTo>
                  <a:lnTo>
                    <a:pt x="0" y="17606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" name="Group 20"/>
            <p:cNvGrpSpPr/>
            <p:nvPr/>
          </p:nvGrpSpPr>
          <p:grpSpPr>
            <a:xfrm>
              <a:off x="3189738" y="1991495"/>
              <a:ext cx="23663" cy="645898"/>
              <a:chOff x="3392428" y="1951545"/>
              <a:chExt cx="27432" cy="735419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3392428" y="1951545"/>
                <a:ext cx="18288" cy="172821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3401572" y="2289545"/>
                <a:ext cx="18288" cy="118872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3401572" y="2568092"/>
                <a:ext cx="18288" cy="118872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5" name="Freeform 34"/>
            <p:cNvSpPr/>
            <p:nvPr/>
          </p:nvSpPr>
          <p:spPr>
            <a:xfrm>
              <a:off x="3806686" y="4332856"/>
              <a:ext cx="256543" cy="261216"/>
            </a:xfrm>
            <a:custGeom>
              <a:avLst/>
              <a:gdLst>
                <a:gd name="connsiteX0" fmla="*/ 0 w 256543"/>
                <a:gd name="connsiteY0" fmla="*/ 130608 h 261216"/>
                <a:gd name="connsiteX1" fmla="*/ 36755 w 256543"/>
                <a:gd name="connsiteY1" fmla="*/ 39091 h 261216"/>
                <a:gd name="connsiteX2" fmla="*/ 128272 w 256543"/>
                <a:gd name="connsiteY2" fmla="*/ 0 h 261216"/>
                <a:gd name="connsiteX3" fmla="*/ 219789 w 256543"/>
                <a:gd name="connsiteY3" fmla="*/ 39091 h 261216"/>
                <a:gd name="connsiteX4" fmla="*/ 256544 w 256543"/>
                <a:gd name="connsiteY4" fmla="*/ 130608 h 261216"/>
                <a:gd name="connsiteX5" fmla="*/ 219789 w 256543"/>
                <a:gd name="connsiteY5" fmla="*/ 222125 h 261216"/>
                <a:gd name="connsiteX6" fmla="*/ 128272 w 256543"/>
                <a:gd name="connsiteY6" fmla="*/ 261216 h 261216"/>
                <a:gd name="connsiteX7" fmla="*/ 36755 w 256543"/>
                <a:gd name="connsiteY7" fmla="*/ 222125 h 261216"/>
                <a:gd name="connsiteX8" fmla="*/ 0 w 256543"/>
                <a:gd name="connsiteY8" fmla="*/ 130608 h 2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543" h="261216">
                  <a:moveTo>
                    <a:pt x="0" y="130608"/>
                  </a:moveTo>
                  <a:cubicBezTo>
                    <a:pt x="0" y="96377"/>
                    <a:pt x="13199" y="63514"/>
                    <a:pt x="36755" y="39091"/>
                  </a:cubicBezTo>
                  <a:cubicBezTo>
                    <a:pt x="60874" y="14086"/>
                    <a:pt x="93851" y="0"/>
                    <a:pt x="128272" y="0"/>
                  </a:cubicBezTo>
                  <a:cubicBezTo>
                    <a:pt x="162693" y="0"/>
                    <a:pt x="195670" y="14086"/>
                    <a:pt x="219789" y="39091"/>
                  </a:cubicBezTo>
                  <a:cubicBezTo>
                    <a:pt x="243346" y="63514"/>
                    <a:pt x="256544" y="96377"/>
                    <a:pt x="256544" y="130608"/>
                  </a:cubicBezTo>
                  <a:cubicBezTo>
                    <a:pt x="256544" y="164839"/>
                    <a:pt x="243345" y="197702"/>
                    <a:pt x="219789" y="222125"/>
                  </a:cubicBezTo>
                  <a:cubicBezTo>
                    <a:pt x="195670" y="247130"/>
                    <a:pt x="162693" y="261216"/>
                    <a:pt x="128272" y="261216"/>
                  </a:cubicBezTo>
                  <a:cubicBezTo>
                    <a:pt x="93851" y="261216"/>
                    <a:pt x="60874" y="247130"/>
                    <a:pt x="36755" y="222125"/>
                  </a:cubicBezTo>
                  <a:cubicBezTo>
                    <a:pt x="13198" y="197702"/>
                    <a:pt x="0" y="164839"/>
                    <a:pt x="0" y="130608"/>
                  </a:cubicBezTo>
                  <a:close/>
                </a:path>
              </a:pathLst>
            </a:cu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3306742" y="1997538"/>
              <a:ext cx="1256433" cy="2276759"/>
            </a:xfrm>
            <a:custGeom>
              <a:avLst/>
              <a:gdLst>
                <a:gd name="connsiteX0" fmla="*/ 0 w 1256433"/>
                <a:gd name="connsiteY0" fmla="*/ 0 h 2276759"/>
                <a:gd name="connsiteX1" fmla="*/ 1256433 w 1256433"/>
                <a:gd name="connsiteY1" fmla="*/ 0 h 2276759"/>
                <a:gd name="connsiteX2" fmla="*/ 1256433 w 1256433"/>
                <a:gd name="connsiteY2" fmla="*/ 2276759 h 2276759"/>
                <a:gd name="connsiteX3" fmla="*/ 0 w 1256433"/>
                <a:gd name="connsiteY3" fmla="*/ 2276759 h 2276759"/>
                <a:gd name="connsiteX4" fmla="*/ 0 w 1256433"/>
                <a:gd name="connsiteY4" fmla="*/ 0 h 227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6433" h="2276759">
                  <a:moveTo>
                    <a:pt x="0" y="0"/>
                  </a:moveTo>
                  <a:lnTo>
                    <a:pt x="1256433" y="0"/>
                  </a:lnTo>
                  <a:lnTo>
                    <a:pt x="1256433" y="2276759"/>
                  </a:lnTo>
                  <a:lnTo>
                    <a:pt x="0" y="2276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3796931" y="1824436"/>
              <a:ext cx="276054" cy="32124"/>
            </a:xfrm>
            <a:custGeom>
              <a:avLst/>
              <a:gdLst>
                <a:gd name="connsiteX0" fmla="*/ 0 w 276054"/>
                <a:gd name="connsiteY0" fmla="*/ 16062 h 32124"/>
                <a:gd name="connsiteX1" fmla="*/ 4704 w 276054"/>
                <a:gd name="connsiteY1" fmla="*/ 4704 h 32124"/>
                <a:gd name="connsiteX2" fmla="*/ 16062 w 276054"/>
                <a:gd name="connsiteY2" fmla="*/ 0 h 32124"/>
                <a:gd name="connsiteX3" fmla="*/ 259992 w 276054"/>
                <a:gd name="connsiteY3" fmla="*/ 0 h 32124"/>
                <a:gd name="connsiteX4" fmla="*/ 271350 w 276054"/>
                <a:gd name="connsiteY4" fmla="*/ 4704 h 32124"/>
                <a:gd name="connsiteX5" fmla="*/ 276054 w 276054"/>
                <a:gd name="connsiteY5" fmla="*/ 16062 h 32124"/>
                <a:gd name="connsiteX6" fmla="*/ 276054 w 276054"/>
                <a:gd name="connsiteY6" fmla="*/ 16062 h 32124"/>
                <a:gd name="connsiteX7" fmla="*/ 271350 w 276054"/>
                <a:gd name="connsiteY7" fmla="*/ 27420 h 32124"/>
                <a:gd name="connsiteX8" fmla="*/ 259992 w 276054"/>
                <a:gd name="connsiteY8" fmla="*/ 32124 h 32124"/>
                <a:gd name="connsiteX9" fmla="*/ 16062 w 276054"/>
                <a:gd name="connsiteY9" fmla="*/ 32124 h 32124"/>
                <a:gd name="connsiteX10" fmla="*/ 4704 w 276054"/>
                <a:gd name="connsiteY10" fmla="*/ 27420 h 32124"/>
                <a:gd name="connsiteX11" fmla="*/ 0 w 276054"/>
                <a:gd name="connsiteY11" fmla="*/ 16062 h 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6054" h="32124">
                  <a:moveTo>
                    <a:pt x="0" y="16062"/>
                  </a:moveTo>
                  <a:cubicBezTo>
                    <a:pt x="0" y="11802"/>
                    <a:pt x="1692" y="7717"/>
                    <a:pt x="4704" y="4704"/>
                  </a:cubicBezTo>
                  <a:cubicBezTo>
                    <a:pt x="7716" y="1692"/>
                    <a:pt x="11802" y="0"/>
                    <a:pt x="16062" y="0"/>
                  </a:cubicBezTo>
                  <a:lnTo>
                    <a:pt x="259992" y="0"/>
                  </a:lnTo>
                  <a:cubicBezTo>
                    <a:pt x="264252" y="0"/>
                    <a:pt x="268337" y="1692"/>
                    <a:pt x="271350" y="4704"/>
                  </a:cubicBezTo>
                  <a:cubicBezTo>
                    <a:pt x="274362" y="7716"/>
                    <a:pt x="276054" y="11802"/>
                    <a:pt x="276054" y="16062"/>
                  </a:cubicBezTo>
                  <a:lnTo>
                    <a:pt x="276054" y="16062"/>
                  </a:lnTo>
                  <a:cubicBezTo>
                    <a:pt x="276054" y="20322"/>
                    <a:pt x="274362" y="24407"/>
                    <a:pt x="271350" y="27420"/>
                  </a:cubicBezTo>
                  <a:cubicBezTo>
                    <a:pt x="268338" y="30432"/>
                    <a:pt x="264252" y="32124"/>
                    <a:pt x="259992" y="32124"/>
                  </a:cubicBezTo>
                  <a:lnTo>
                    <a:pt x="16062" y="32124"/>
                  </a:lnTo>
                  <a:cubicBezTo>
                    <a:pt x="11802" y="32124"/>
                    <a:pt x="7717" y="30432"/>
                    <a:pt x="4704" y="27420"/>
                  </a:cubicBezTo>
                  <a:cubicBezTo>
                    <a:pt x="1692" y="24408"/>
                    <a:pt x="0" y="20322"/>
                    <a:pt x="0" y="1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3911556" y="1704426"/>
              <a:ext cx="46804" cy="47657"/>
            </a:xfrm>
            <a:custGeom>
              <a:avLst/>
              <a:gdLst>
                <a:gd name="connsiteX0" fmla="*/ 0 w 46804"/>
                <a:gd name="connsiteY0" fmla="*/ 23829 h 47657"/>
                <a:gd name="connsiteX1" fmla="*/ 6705 w 46804"/>
                <a:gd name="connsiteY1" fmla="*/ 7132 h 47657"/>
                <a:gd name="connsiteX2" fmla="*/ 23402 w 46804"/>
                <a:gd name="connsiteY2" fmla="*/ 0 h 47657"/>
                <a:gd name="connsiteX3" fmla="*/ 40099 w 46804"/>
                <a:gd name="connsiteY3" fmla="*/ 7132 h 47657"/>
                <a:gd name="connsiteX4" fmla="*/ 46804 w 46804"/>
                <a:gd name="connsiteY4" fmla="*/ 23829 h 47657"/>
                <a:gd name="connsiteX5" fmla="*/ 40099 w 46804"/>
                <a:gd name="connsiteY5" fmla="*/ 40526 h 47657"/>
                <a:gd name="connsiteX6" fmla="*/ 23402 w 46804"/>
                <a:gd name="connsiteY6" fmla="*/ 47658 h 47657"/>
                <a:gd name="connsiteX7" fmla="*/ 6705 w 46804"/>
                <a:gd name="connsiteY7" fmla="*/ 40526 h 47657"/>
                <a:gd name="connsiteX8" fmla="*/ 0 w 46804"/>
                <a:gd name="connsiteY8" fmla="*/ 23829 h 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04" h="47657">
                  <a:moveTo>
                    <a:pt x="0" y="23829"/>
                  </a:moveTo>
                  <a:cubicBezTo>
                    <a:pt x="0" y="17584"/>
                    <a:pt x="2408" y="11588"/>
                    <a:pt x="6705" y="7132"/>
                  </a:cubicBezTo>
                  <a:cubicBezTo>
                    <a:pt x="11105" y="2570"/>
                    <a:pt x="17122" y="0"/>
                    <a:pt x="23402" y="0"/>
                  </a:cubicBezTo>
                  <a:cubicBezTo>
                    <a:pt x="29682" y="0"/>
                    <a:pt x="35698" y="2570"/>
                    <a:pt x="40099" y="7132"/>
                  </a:cubicBezTo>
                  <a:cubicBezTo>
                    <a:pt x="44397" y="11588"/>
                    <a:pt x="46804" y="17583"/>
                    <a:pt x="46804" y="23829"/>
                  </a:cubicBezTo>
                  <a:cubicBezTo>
                    <a:pt x="46804" y="30074"/>
                    <a:pt x="44396" y="36070"/>
                    <a:pt x="40099" y="40526"/>
                  </a:cubicBezTo>
                  <a:cubicBezTo>
                    <a:pt x="35699" y="45088"/>
                    <a:pt x="29682" y="47658"/>
                    <a:pt x="23402" y="47658"/>
                  </a:cubicBezTo>
                  <a:cubicBezTo>
                    <a:pt x="17122" y="47658"/>
                    <a:pt x="11106" y="45088"/>
                    <a:pt x="6705" y="40526"/>
                  </a:cubicBezTo>
                  <a:cubicBezTo>
                    <a:pt x="2407" y="36070"/>
                    <a:pt x="0" y="30075"/>
                    <a:pt x="0" y="238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38"/>
            <p:cNvSpPr/>
            <p:nvPr/>
          </p:nvSpPr>
          <p:spPr>
            <a:xfrm>
              <a:off x="4293042" y="1562392"/>
              <a:ext cx="198758" cy="40154"/>
            </a:xfrm>
            <a:custGeom>
              <a:avLst/>
              <a:gdLst>
                <a:gd name="connsiteX0" fmla="*/ 0 w 198758"/>
                <a:gd name="connsiteY0" fmla="*/ 0 h 40154"/>
                <a:gd name="connsiteX1" fmla="*/ 198758 w 198758"/>
                <a:gd name="connsiteY1" fmla="*/ 0 h 40154"/>
                <a:gd name="connsiteX2" fmla="*/ 198758 w 198758"/>
                <a:gd name="connsiteY2" fmla="*/ 40154 h 40154"/>
                <a:gd name="connsiteX3" fmla="*/ 0 w 198758"/>
                <a:gd name="connsiteY3" fmla="*/ 40154 h 40154"/>
                <a:gd name="connsiteX4" fmla="*/ 0 w 198758"/>
                <a:gd name="connsiteY4" fmla="*/ 0 h 4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58" h="40154">
                  <a:moveTo>
                    <a:pt x="0" y="0"/>
                  </a:moveTo>
                  <a:lnTo>
                    <a:pt x="198758" y="0"/>
                  </a:lnTo>
                  <a:lnTo>
                    <a:pt x="198758" y="40154"/>
                  </a:lnTo>
                  <a:lnTo>
                    <a:pt x="0" y="401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shadow.png"/>
          <p:cNvPicPr>
            <a:picLocks noChangeAspect="1"/>
          </p:cNvPicPr>
          <p:nvPr userDrawn="1"/>
        </p:nvPicPr>
        <p:blipFill>
          <a:blip r:embed="rId2" cstate="print">
            <a:biLevel thresh="50000"/>
          </a:blip>
          <a:stretch>
            <a:fillRect/>
          </a:stretch>
        </p:blipFill>
        <p:spPr>
          <a:xfrm>
            <a:off x="376045" y="4555821"/>
            <a:ext cx="2320732" cy="238125"/>
          </a:xfrm>
          <a:prstGeom prst="rect">
            <a:avLst/>
          </a:prstGeom>
        </p:spPr>
      </p:pic>
      <p:sp>
        <p:nvSpPr>
          <p:cNvPr id="45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08441" y="1563804"/>
            <a:ext cx="1403654" cy="2539833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152379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animBg="1"/>
      <p:bldP spid="45" grpId="0"/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168751" y="1201795"/>
            <a:ext cx="4400683" cy="3501414"/>
            <a:chOff x="2094899" y="1081795"/>
            <a:chExt cx="4400683" cy="3501414"/>
          </a:xfrm>
        </p:grpSpPr>
        <p:sp>
          <p:nvSpPr>
            <p:cNvPr id="22" name="Rectangle 21"/>
            <p:cNvSpPr/>
            <p:nvPr/>
          </p:nvSpPr>
          <p:spPr>
            <a:xfrm>
              <a:off x="2261198" y="1247618"/>
              <a:ext cx="4081379" cy="22598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2094899" y="1081795"/>
              <a:ext cx="4400683" cy="2608522"/>
            </a:xfrm>
            <a:custGeom>
              <a:avLst/>
              <a:gdLst/>
              <a:ahLst/>
              <a:cxnLst>
                <a:cxn ang="0">
                  <a:pos x="1757" y="0"/>
                </a:cxn>
                <a:cxn ang="0">
                  <a:pos x="921" y="0"/>
                </a:cxn>
                <a:cxn ang="0">
                  <a:pos x="893" y="0"/>
                </a:cxn>
                <a:cxn ang="0">
                  <a:pos x="56" y="0"/>
                </a:cxn>
                <a:cxn ang="0">
                  <a:pos x="0" y="47"/>
                </a:cxn>
                <a:cxn ang="0">
                  <a:pos x="0" y="1076"/>
                </a:cxn>
                <a:cxn ang="0">
                  <a:pos x="1816" y="1076"/>
                </a:cxn>
                <a:cxn ang="0">
                  <a:pos x="1816" y="47"/>
                </a:cxn>
                <a:cxn ang="0">
                  <a:pos x="1757" y="0"/>
                </a:cxn>
                <a:cxn ang="0">
                  <a:pos x="1732" y="1000"/>
                </a:cxn>
                <a:cxn ang="0">
                  <a:pos x="76" y="1000"/>
                </a:cxn>
                <a:cxn ang="0">
                  <a:pos x="76" y="68"/>
                </a:cxn>
                <a:cxn ang="0">
                  <a:pos x="1732" y="68"/>
                </a:cxn>
                <a:cxn ang="0">
                  <a:pos x="1732" y="1000"/>
                </a:cxn>
              </a:cxnLst>
              <a:rect l="0" t="0" r="r" b="b"/>
              <a:pathLst>
                <a:path w="1816" h="1076">
                  <a:moveTo>
                    <a:pt x="1757" y="0"/>
                  </a:moveTo>
                  <a:cubicBezTo>
                    <a:pt x="921" y="0"/>
                    <a:pt x="921" y="0"/>
                    <a:pt x="921" y="0"/>
                  </a:cubicBezTo>
                  <a:cubicBezTo>
                    <a:pt x="893" y="0"/>
                    <a:pt x="893" y="0"/>
                    <a:pt x="89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7" y="0"/>
                    <a:pt x="0" y="17"/>
                    <a:pt x="0" y="47"/>
                  </a:cubicBezTo>
                  <a:cubicBezTo>
                    <a:pt x="0" y="1076"/>
                    <a:pt x="0" y="1076"/>
                    <a:pt x="0" y="1076"/>
                  </a:cubicBezTo>
                  <a:cubicBezTo>
                    <a:pt x="1816" y="1076"/>
                    <a:pt x="1816" y="1076"/>
                    <a:pt x="1816" y="1076"/>
                  </a:cubicBezTo>
                  <a:cubicBezTo>
                    <a:pt x="1816" y="47"/>
                    <a:pt x="1816" y="47"/>
                    <a:pt x="1816" y="47"/>
                  </a:cubicBezTo>
                  <a:cubicBezTo>
                    <a:pt x="1816" y="17"/>
                    <a:pt x="1787" y="0"/>
                    <a:pt x="1757" y="0"/>
                  </a:cubicBezTo>
                  <a:moveTo>
                    <a:pt x="1732" y="1000"/>
                  </a:moveTo>
                  <a:cubicBezTo>
                    <a:pt x="76" y="1000"/>
                    <a:pt x="76" y="1000"/>
                    <a:pt x="76" y="100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732" y="68"/>
                    <a:pt x="1732" y="68"/>
                    <a:pt x="1732" y="68"/>
                  </a:cubicBezTo>
                  <a:cubicBezTo>
                    <a:pt x="1732" y="1000"/>
                    <a:pt x="1732" y="1000"/>
                    <a:pt x="1732" y="1000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311744" y="1247618"/>
              <a:ext cx="3979748" cy="2259869"/>
            </a:xfrm>
            <a:custGeom>
              <a:avLst/>
              <a:gdLst/>
              <a:ahLst/>
              <a:cxnLst>
                <a:cxn ang="0">
                  <a:pos x="1872" y="0"/>
                </a:cxn>
                <a:cxn ang="0">
                  <a:pos x="0" y="0"/>
                </a:cxn>
                <a:cxn ang="0">
                  <a:pos x="1872" y="1063"/>
                </a:cxn>
                <a:cxn ang="0">
                  <a:pos x="1872" y="0"/>
                </a:cxn>
              </a:cxnLst>
              <a:rect l="0" t="0" r="r" b="b"/>
              <a:pathLst>
                <a:path w="1872" h="1063">
                  <a:moveTo>
                    <a:pt x="1872" y="0"/>
                  </a:moveTo>
                  <a:lnTo>
                    <a:pt x="0" y="0"/>
                  </a:lnTo>
                  <a:lnTo>
                    <a:pt x="1872" y="1063"/>
                  </a:lnTo>
                  <a:lnTo>
                    <a:pt x="1872" y="0"/>
                  </a:lnTo>
                  <a:close/>
                </a:path>
              </a:pathLst>
            </a:custGeom>
            <a:solidFill>
              <a:srgbClr val="FFFFFF">
                <a:alpha val="16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7"/>
            <p:cNvSpPr>
              <a:spLocks/>
            </p:cNvSpPr>
            <p:nvPr/>
          </p:nvSpPr>
          <p:spPr bwMode="auto">
            <a:xfrm>
              <a:off x="2094899" y="3690315"/>
              <a:ext cx="4400683" cy="397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0"/>
                </a:cxn>
                <a:cxn ang="0">
                  <a:pos x="56" y="164"/>
                </a:cxn>
                <a:cxn ang="0">
                  <a:pos x="893" y="164"/>
                </a:cxn>
                <a:cxn ang="0">
                  <a:pos x="921" y="164"/>
                </a:cxn>
                <a:cxn ang="0">
                  <a:pos x="1757" y="164"/>
                </a:cxn>
                <a:cxn ang="0">
                  <a:pos x="1816" y="100"/>
                </a:cxn>
                <a:cxn ang="0">
                  <a:pos x="1816" y="0"/>
                </a:cxn>
                <a:cxn ang="0">
                  <a:pos x="0" y="0"/>
                </a:cxn>
              </a:cxnLst>
              <a:rect l="0" t="0" r="r" b="b"/>
              <a:pathLst>
                <a:path w="1816" h="164">
                  <a:moveTo>
                    <a:pt x="0" y="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30"/>
                    <a:pt x="27" y="164"/>
                    <a:pt x="56" y="164"/>
                  </a:cubicBezTo>
                  <a:cubicBezTo>
                    <a:pt x="893" y="164"/>
                    <a:pt x="893" y="164"/>
                    <a:pt x="893" y="164"/>
                  </a:cubicBezTo>
                  <a:cubicBezTo>
                    <a:pt x="921" y="164"/>
                    <a:pt x="921" y="164"/>
                    <a:pt x="921" y="164"/>
                  </a:cubicBezTo>
                  <a:cubicBezTo>
                    <a:pt x="1757" y="164"/>
                    <a:pt x="1757" y="164"/>
                    <a:pt x="1757" y="164"/>
                  </a:cubicBezTo>
                  <a:cubicBezTo>
                    <a:pt x="1787" y="164"/>
                    <a:pt x="1816" y="130"/>
                    <a:pt x="1816" y="100"/>
                  </a:cubicBezTo>
                  <a:cubicBezTo>
                    <a:pt x="1816" y="0"/>
                    <a:pt x="1816" y="0"/>
                    <a:pt x="181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83000">
                  <a:schemeClr val="bg1">
                    <a:lumMod val="75000"/>
                  </a:schemeClr>
                </a:gs>
                <a:gs pos="54000">
                  <a:schemeClr val="bg1">
                    <a:lumMod val="85000"/>
                  </a:schemeClr>
                </a:gs>
              </a:gsLst>
              <a:lin ang="18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/>
                <a:t> </a:t>
              </a:r>
            </a:p>
          </p:txBody>
        </p:sp>
        <p:sp>
          <p:nvSpPr>
            <p:cNvPr id="26" name="Freeform 29"/>
            <p:cNvSpPr>
              <a:spLocks/>
            </p:cNvSpPr>
            <p:nvPr/>
          </p:nvSpPr>
          <p:spPr bwMode="auto">
            <a:xfrm>
              <a:off x="3506519" y="4087866"/>
              <a:ext cx="1590198" cy="495343"/>
            </a:xfrm>
            <a:custGeom>
              <a:avLst/>
              <a:gdLst/>
              <a:ahLst/>
              <a:cxnLst>
                <a:cxn ang="0">
                  <a:pos x="335" y="0"/>
                </a:cxn>
                <a:cxn ang="0">
                  <a:pos x="322" y="0"/>
                </a:cxn>
                <a:cxn ang="0">
                  <a:pos x="143" y="0"/>
                </a:cxn>
                <a:cxn ang="0">
                  <a:pos x="102" y="128"/>
                </a:cxn>
                <a:cxn ang="0">
                  <a:pos x="108" y="204"/>
                </a:cxn>
                <a:cxn ang="0">
                  <a:pos x="322" y="204"/>
                </a:cxn>
                <a:cxn ang="0">
                  <a:pos x="335" y="204"/>
                </a:cxn>
                <a:cxn ang="0">
                  <a:pos x="549" y="204"/>
                </a:cxn>
                <a:cxn ang="0">
                  <a:pos x="555" y="128"/>
                </a:cxn>
                <a:cxn ang="0">
                  <a:pos x="513" y="0"/>
                </a:cxn>
                <a:cxn ang="0">
                  <a:pos x="335" y="0"/>
                </a:cxn>
              </a:cxnLst>
              <a:rect l="0" t="0" r="r" b="b"/>
              <a:pathLst>
                <a:path w="656" h="204">
                  <a:moveTo>
                    <a:pt x="335" y="0"/>
                  </a:moveTo>
                  <a:cubicBezTo>
                    <a:pt x="322" y="0"/>
                    <a:pt x="322" y="0"/>
                    <a:pt x="32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2" y="88"/>
                    <a:pt x="102" y="128"/>
                  </a:cubicBezTo>
                  <a:cubicBezTo>
                    <a:pt x="62" y="169"/>
                    <a:pt x="0" y="204"/>
                    <a:pt x="108" y="204"/>
                  </a:cubicBezTo>
                  <a:cubicBezTo>
                    <a:pt x="322" y="204"/>
                    <a:pt x="322" y="204"/>
                    <a:pt x="322" y="204"/>
                  </a:cubicBezTo>
                  <a:cubicBezTo>
                    <a:pt x="335" y="204"/>
                    <a:pt x="335" y="204"/>
                    <a:pt x="335" y="204"/>
                  </a:cubicBezTo>
                  <a:cubicBezTo>
                    <a:pt x="549" y="204"/>
                    <a:pt x="549" y="204"/>
                    <a:pt x="549" y="204"/>
                  </a:cubicBezTo>
                  <a:cubicBezTo>
                    <a:pt x="656" y="204"/>
                    <a:pt x="594" y="169"/>
                    <a:pt x="555" y="128"/>
                  </a:cubicBezTo>
                  <a:cubicBezTo>
                    <a:pt x="515" y="88"/>
                    <a:pt x="513" y="0"/>
                    <a:pt x="513" y="0"/>
                  </a:cubicBezTo>
                  <a:lnTo>
                    <a:pt x="335" y="0"/>
                  </a:lnTo>
                  <a:close/>
                </a:path>
              </a:pathLst>
            </a:custGeom>
            <a:gradFill>
              <a:gsLst>
                <a:gs pos="42000">
                  <a:schemeClr val="bg1">
                    <a:lumMod val="75000"/>
                  </a:schemeClr>
                </a:gs>
                <a:gs pos="6000">
                  <a:schemeClr val="bg1">
                    <a:lumMod val="8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356720" y="1367618"/>
            <a:ext cx="4008623" cy="2259869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64276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2908630" y="1255684"/>
            <a:ext cx="3326740" cy="4311630"/>
            <a:chOff x="2908630" y="1255684"/>
            <a:chExt cx="3326740" cy="4311630"/>
          </a:xfrm>
        </p:grpSpPr>
        <p:grpSp>
          <p:nvGrpSpPr>
            <p:cNvPr id="14" name="Group 66"/>
            <p:cNvGrpSpPr/>
            <p:nvPr/>
          </p:nvGrpSpPr>
          <p:grpSpPr>
            <a:xfrm>
              <a:off x="2908630" y="1255684"/>
              <a:ext cx="3326740" cy="4311630"/>
              <a:chOff x="1208088" y="2017712"/>
              <a:chExt cx="1206500" cy="1563688"/>
            </a:xfrm>
          </p:grpSpPr>
          <p:sp>
            <p:nvSpPr>
              <p:cNvPr id="18" name="Rectangle 6"/>
              <p:cNvSpPr>
                <a:spLocks noChangeArrowheads="1"/>
              </p:cNvSpPr>
              <p:nvPr/>
            </p:nvSpPr>
            <p:spPr bwMode="auto">
              <a:xfrm>
                <a:off x="1319213" y="2152650"/>
                <a:ext cx="969963" cy="129698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/>
              <p:cNvSpPr>
                <a:spLocks noChangeArrowheads="1"/>
              </p:cNvSpPr>
              <p:nvPr/>
            </p:nvSpPr>
            <p:spPr bwMode="auto">
              <a:xfrm>
                <a:off x="1319213" y="2152650"/>
                <a:ext cx="969963" cy="12969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8"/>
              <p:cNvSpPr>
                <a:spLocks noEditPoints="1"/>
              </p:cNvSpPr>
              <p:nvPr/>
            </p:nvSpPr>
            <p:spPr bwMode="auto">
              <a:xfrm>
                <a:off x="1208088" y="2017712"/>
                <a:ext cx="1206500" cy="1563688"/>
              </a:xfrm>
              <a:custGeom>
                <a:avLst/>
                <a:gdLst/>
                <a:ahLst/>
                <a:cxnLst>
                  <a:cxn ang="0">
                    <a:pos x="666" y="35"/>
                  </a:cxn>
                  <a:cxn ang="0">
                    <a:pos x="631" y="0"/>
                  </a:cxn>
                  <a:cxn ang="0">
                    <a:pos x="34" y="0"/>
                  </a:cxn>
                  <a:cxn ang="0">
                    <a:pos x="0" y="35"/>
                  </a:cxn>
                  <a:cxn ang="0">
                    <a:pos x="0" y="829"/>
                  </a:cxn>
                  <a:cxn ang="0">
                    <a:pos x="34" y="864"/>
                  </a:cxn>
                  <a:cxn ang="0">
                    <a:pos x="631" y="864"/>
                  </a:cxn>
                  <a:cxn ang="0">
                    <a:pos x="666" y="829"/>
                  </a:cxn>
                  <a:cxn ang="0">
                    <a:pos x="666" y="35"/>
                  </a:cxn>
                  <a:cxn ang="0">
                    <a:pos x="597" y="791"/>
                  </a:cxn>
                  <a:cxn ang="0">
                    <a:pos x="66" y="791"/>
                  </a:cxn>
                  <a:cxn ang="0">
                    <a:pos x="66" y="76"/>
                  </a:cxn>
                  <a:cxn ang="0">
                    <a:pos x="597" y="76"/>
                  </a:cxn>
                  <a:cxn ang="0">
                    <a:pos x="597" y="791"/>
                  </a:cxn>
                </a:cxnLst>
                <a:rect l="0" t="0" r="r" b="b"/>
                <a:pathLst>
                  <a:path w="666" h="864">
                    <a:moveTo>
                      <a:pt x="666" y="35"/>
                    </a:moveTo>
                    <a:cubicBezTo>
                      <a:pt x="666" y="16"/>
                      <a:pt x="650" y="0"/>
                      <a:pt x="631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15" y="0"/>
                      <a:pt x="0" y="16"/>
                      <a:pt x="0" y="35"/>
                    </a:cubicBezTo>
                    <a:cubicBezTo>
                      <a:pt x="0" y="829"/>
                      <a:pt x="0" y="829"/>
                      <a:pt x="0" y="829"/>
                    </a:cubicBezTo>
                    <a:cubicBezTo>
                      <a:pt x="0" y="849"/>
                      <a:pt x="15" y="864"/>
                      <a:pt x="34" y="864"/>
                    </a:cubicBezTo>
                    <a:cubicBezTo>
                      <a:pt x="631" y="864"/>
                      <a:pt x="631" y="864"/>
                      <a:pt x="631" y="864"/>
                    </a:cubicBezTo>
                    <a:cubicBezTo>
                      <a:pt x="650" y="864"/>
                      <a:pt x="666" y="849"/>
                      <a:pt x="666" y="829"/>
                    </a:cubicBezTo>
                    <a:cubicBezTo>
                      <a:pt x="666" y="35"/>
                      <a:pt x="666" y="35"/>
                      <a:pt x="666" y="35"/>
                    </a:cubicBezTo>
                    <a:moveTo>
                      <a:pt x="597" y="791"/>
                    </a:moveTo>
                    <a:cubicBezTo>
                      <a:pt x="66" y="791"/>
                      <a:pt x="66" y="791"/>
                      <a:pt x="66" y="791"/>
                    </a:cubicBezTo>
                    <a:cubicBezTo>
                      <a:pt x="66" y="76"/>
                      <a:pt x="66" y="76"/>
                      <a:pt x="66" y="76"/>
                    </a:cubicBezTo>
                    <a:cubicBezTo>
                      <a:pt x="597" y="76"/>
                      <a:pt x="597" y="76"/>
                      <a:pt x="597" y="76"/>
                    </a:cubicBezTo>
                    <a:cubicBezTo>
                      <a:pt x="597" y="791"/>
                      <a:pt x="597" y="791"/>
                      <a:pt x="597" y="791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Oval 14"/>
            <p:cNvSpPr/>
            <p:nvPr/>
          </p:nvSpPr>
          <p:spPr>
            <a:xfrm>
              <a:off x="4471627" y="1357124"/>
              <a:ext cx="200746" cy="2007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215040" y="1627755"/>
            <a:ext cx="2674525" cy="3576246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154755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/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29" name="Round Same Side Corner Rectangle 28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1" name="Group 300"/>
          <p:cNvGrpSpPr/>
          <p:nvPr userDrawn="1"/>
        </p:nvGrpSpPr>
        <p:grpSpPr>
          <a:xfrm>
            <a:off x="747228" y="1481662"/>
            <a:ext cx="3882522" cy="2030568"/>
            <a:chOff x="2844800" y="1304396"/>
            <a:chExt cx="2803525" cy="1466250"/>
          </a:xfrm>
        </p:grpSpPr>
        <p:grpSp>
          <p:nvGrpSpPr>
            <p:cNvPr id="42" name="Group 44"/>
            <p:cNvGrpSpPr/>
            <p:nvPr/>
          </p:nvGrpSpPr>
          <p:grpSpPr>
            <a:xfrm>
              <a:off x="3209925" y="1304396"/>
              <a:ext cx="2073275" cy="1397000"/>
              <a:chOff x="4843457" y="992546"/>
              <a:chExt cx="2073275" cy="1397000"/>
            </a:xfrm>
          </p:grpSpPr>
          <p:sp>
            <p:nvSpPr>
              <p:cNvPr id="47" name="Freeform 12"/>
              <p:cNvSpPr>
                <a:spLocks/>
              </p:cNvSpPr>
              <p:nvPr/>
            </p:nvSpPr>
            <p:spPr bwMode="auto">
              <a:xfrm>
                <a:off x="4843457" y="992546"/>
                <a:ext cx="2073275" cy="1397000"/>
              </a:xfrm>
              <a:custGeom>
                <a:avLst/>
                <a:gdLst/>
                <a:ahLst/>
                <a:cxnLst>
                  <a:cxn ang="0">
                    <a:pos x="1146" y="737"/>
                  </a:cxn>
                  <a:cxn ang="0">
                    <a:pos x="1120" y="772"/>
                  </a:cxn>
                  <a:cxn ang="0">
                    <a:pos x="26" y="772"/>
                  </a:cxn>
                  <a:cxn ang="0">
                    <a:pos x="0" y="737"/>
                  </a:cxn>
                  <a:cxn ang="0">
                    <a:pos x="0" y="35"/>
                  </a:cxn>
                  <a:cxn ang="0">
                    <a:pos x="26" y="0"/>
                  </a:cxn>
                  <a:cxn ang="0">
                    <a:pos x="1120" y="0"/>
                  </a:cxn>
                  <a:cxn ang="0">
                    <a:pos x="1146" y="35"/>
                  </a:cxn>
                  <a:cxn ang="0">
                    <a:pos x="1146" y="737"/>
                  </a:cxn>
                </a:cxnLst>
                <a:rect l="0" t="0" r="r" b="b"/>
                <a:pathLst>
                  <a:path w="1146" h="772">
                    <a:moveTo>
                      <a:pt x="1146" y="737"/>
                    </a:moveTo>
                    <a:cubicBezTo>
                      <a:pt x="1146" y="756"/>
                      <a:pt x="1134" y="772"/>
                      <a:pt x="1120" y="772"/>
                    </a:cubicBezTo>
                    <a:cubicBezTo>
                      <a:pt x="26" y="772"/>
                      <a:pt x="26" y="772"/>
                      <a:pt x="26" y="772"/>
                    </a:cubicBezTo>
                    <a:cubicBezTo>
                      <a:pt x="12" y="772"/>
                      <a:pt x="0" y="756"/>
                      <a:pt x="0" y="737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16"/>
                      <a:pt x="12" y="0"/>
                      <a:pt x="26" y="0"/>
                    </a:cubicBezTo>
                    <a:cubicBezTo>
                      <a:pt x="1120" y="0"/>
                      <a:pt x="1120" y="0"/>
                      <a:pt x="1120" y="0"/>
                    </a:cubicBezTo>
                    <a:cubicBezTo>
                      <a:pt x="1134" y="0"/>
                      <a:pt x="1146" y="16"/>
                      <a:pt x="1146" y="35"/>
                    </a:cubicBezTo>
                    <a:cubicBezTo>
                      <a:pt x="1146" y="737"/>
                      <a:pt x="1146" y="737"/>
                      <a:pt x="1146" y="737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13"/>
              <p:cNvSpPr>
                <a:spLocks noChangeArrowheads="1"/>
              </p:cNvSpPr>
              <p:nvPr/>
            </p:nvSpPr>
            <p:spPr bwMode="auto">
              <a:xfrm>
                <a:off x="4926007" y="1068746"/>
                <a:ext cx="1914525" cy="11811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"/>
              <p:cNvSpPr>
                <a:spLocks/>
              </p:cNvSpPr>
              <p:nvPr/>
            </p:nvSpPr>
            <p:spPr bwMode="auto">
              <a:xfrm>
                <a:off x="4936351" y="1068746"/>
                <a:ext cx="1901825" cy="1089025"/>
              </a:xfrm>
              <a:custGeom>
                <a:avLst/>
                <a:gdLst/>
                <a:ahLst/>
                <a:cxnLst>
                  <a:cxn ang="0">
                    <a:pos x="1198" y="0"/>
                  </a:cxn>
                  <a:cxn ang="0">
                    <a:pos x="0" y="0"/>
                  </a:cxn>
                  <a:cxn ang="0">
                    <a:pos x="1198" y="686"/>
                  </a:cxn>
                  <a:cxn ang="0">
                    <a:pos x="1198" y="0"/>
                  </a:cxn>
                </a:cxnLst>
                <a:rect l="0" t="0" r="r" b="b"/>
                <a:pathLst>
                  <a:path w="1198" h="686">
                    <a:moveTo>
                      <a:pt x="1198" y="0"/>
                    </a:moveTo>
                    <a:lnTo>
                      <a:pt x="0" y="0"/>
                    </a:lnTo>
                    <a:lnTo>
                      <a:pt x="1198" y="686"/>
                    </a:lnTo>
                    <a:lnTo>
                      <a:pt x="1198" y="0"/>
                    </a:lnTo>
                    <a:close/>
                  </a:path>
                </a:pathLst>
              </a:custGeom>
              <a:solidFill>
                <a:schemeClr val="bg1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3" name="Group 43"/>
            <p:cNvGrpSpPr/>
            <p:nvPr/>
          </p:nvGrpSpPr>
          <p:grpSpPr>
            <a:xfrm>
              <a:off x="2844800" y="2648409"/>
              <a:ext cx="2803525" cy="122237"/>
              <a:chOff x="4462463" y="2425701"/>
              <a:chExt cx="2803525" cy="122237"/>
            </a:xfrm>
          </p:grpSpPr>
          <p:sp>
            <p:nvSpPr>
              <p:cNvPr id="44" name="Freeform 15"/>
              <p:cNvSpPr>
                <a:spLocks/>
              </p:cNvSpPr>
              <p:nvPr/>
            </p:nvSpPr>
            <p:spPr bwMode="auto">
              <a:xfrm>
                <a:off x="4462463" y="2481263"/>
                <a:ext cx="2800350" cy="6667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68" y="37"/>
                  </a:cxn>
                  <a:cxn ang="0">
                    <a:pos x="1487" y="37"/>
                  </a:cxn>
                  <a:cxn ang="0">
                    <a:pos x="1546" y="12"/>
                  </a:cxn>
                  <a:cxn ang="0">
                    <a:pos x="1547" y="0"/>
                  </a:cxn>
                  <a:cxn ang="0">
                    <a:pos x="10" y="5"/>
                  </a:cxn>
                </a:cxnLst>
                <a:rect l="0" t="0" r="r" b="b"/>
                <a:pathLst>
                  <a:path w="1547" h="37">
                    <a:moveTo>
                      <a:pt x="10" y="5"/>
                    </a:moveTo>
                    <a:cubicBezTo>
                      <a:pt x="10" y="5"/>
                      <a:pt x="0" y="23"/>
                      <a:pt x="68" y="37"/>
                    </a:cubicBezTo>
                    <a:cubicBezTo>
                      <a:pt x="1487" y="37"/>
                      <a:pt x="1487" y="37"/>
                      <a:pt x="1487" y="37"/>
                    </a:cubicBezTo>
                    <a:cubicBezTo>
                      <a:pt x="1487" y="37"/>
                      <a:pt x="1534" y="34"/>
                      <a:pt x="1546" y="12"/>
                    </a:cubicBezTo>
                    <a:cubicBezTo>
                      <a:pt x="1547" y="0"/>
                      <a:pt x="1547" y="0"/>
                      <a:pt x="1547" y="0"/>
                    </a:cubicBezTo>
                    <a:lnTo>
                      <a:pt x="10" y="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6"/>
              <p:cNvSpPr>
                <a:spLocks/>
              </p:cNvSpPr>
              <p:nvPr/>
            </p:nvSpPr>
            <p:spPr bwMode="auto">
              <a:xfrm>
                <a:off x="4478338" y="2425701"/>
                <a:ext cx="2787650" cy="841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38"/>
                  </a:cxn>
                  <a:cxn ang="0">
                    <a:pos x="16" y="43"/>
                  </a:cxn>
                  <a:cxn ang="0">
                    <a:pos x="1522" y="43"/>
                  </a:cxn>
                  <a:cxn ang="0">
                    <a:pos x="1538" y="40"/>
                  </a:cxn>
                  <a:cxn ang="0">
                    <a:pos x="1538" y="0"/>
                  </a:cxn>
                  <a:cxn ang="0">
                    <a:pos x="1" y="0"/>
                  </a:cxn>
                </a:cxnLst>
                <a:rect l="0" t="0" r="r" b="b"/>
                <a:pathLst>
                  <a:path w="1540" h="47">
                    <a:moveTo>
                      <a:pt x="1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1" y="47"/>
                      <a:pt x="16" y="43"/>
                      <a:pt x="16" y="43"/>
                    </a:cubicBezTo>
                    <a:cubicBezTo>
                      <a:pt x="1522" y="43"/>
                      <a:pt x="1522" y="43"/>
                      <a:pt x="1522" y="43"/>
                    </a:cubicBezTo>
                    <a:cubicBezTo>
                      <a:pt x="1540" y="45"/>
                      <a:pt x="1538" y="40"/>
                      <a:pt x="1538" y="40"/>
                    </a:cubicBezTo>
                    <a:cubicBezTo>
                      <a:pt x="1538" y="0"/>
                      <a:pt x="1538" y="0"/>
                      <a:pt x="153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adFill>
                <a:gsLst>
                  <a:gs pos="42000">
                    <a:schemeClr val="bg1">
                      <a:lumMod val="75000"/>
                    </a:schemeClr>
                  </a:gs>
                  <a:gs pos="6000">
                    <a:schemeClr val="bg1">
                      <a:lumMod val="85000"/>
                    </a:schemeClr>
                  </a:gs>
                  <a:gs pos="0">
                    <a:schemeClr val="bg1">
                      <a:lumMod val="65000"/>
                    </a:schemeClr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31"/>
              <p:cNvSpPr>
                <a:spLocks/>
              </p:cNvSpPr>
              <p:nvPr/>
            </p:nvSpPr>
            <p:spPr bwMode="auto">
              <a:xfrm>
                <a:off x="5672138" y="2425701"/>
                <a:ext cx="392113" cy="44450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198" y="22"/>
                  </a:cxn>
                  <a:cxn ang="0">
                    <a:pos x="215" y="1"/>
                  </a:cxn>
                  <a:cxn ang="0">
                    <a:pos x="6" y="0"/>
                  </a:cxn>
                  <a:cxn ang="0">
                    <a:pos x="20" y="22"/>
                  </a:cxn>
                </a:cxnLst>
                <a:rect l="0" t="0" r="r" b="b"/>
                <a:pathLst>
                  <a:path w="217" h="25">
                    <a:moveTo>
                      <a:pt x="20" y="22"/>
                    </a:moveTo>
                    <a:cubicBezTo>
                      <a:pt x="198" y="22"/>
                      <a:pt x="198" y="22"/>
                      <a:pt x="198" y="22"/>
                    </a:cubicBezTo>
                    <a:cubicBezTo>
                      <a:pt x="198" y="22"/>
                      <a:pt x="217" y="25"/>
                      <a:pt x="215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0" y="20"/>
                      <a:pt x="20" y="2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0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367200" y="1587190"/>
            <a:ext cx="2651372" cy="163567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390456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9938" y="267471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69938" y="619462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5048851"/>
            <a:ext cx="9144000" cy="9464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1" name="Flowchart: Off-page Connector 30"/>
          <p:cNvSpPr/>
          <p:nvPr userDrawn="1"/>
        </p:nvSpPr>
        <p:spPr>
          <a:xfrm>
            <a:off x="8622181" y="238198"/>
            <a:ext cx="288035" cy="235899"/>
          </a:xfrm>
          <a:prstGeom prst="flowChartOffpageConnector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2120" y="197976"/>
            <a:ext cx="457681" cy="274637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783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775425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788842" y="1229499"/>
            <a:ext cx="3681115" cy="3225991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2" name="Round Same Side Corner Rectangle 11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376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build="p">
        <p:tmplLst>
          <p:tmpl lvl="1">
            <p:tnLst>
              <p:par>
                <p:cTn presetID="22" presetClass="entr" presetSubtype="4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67991" y="1472626"/>
            <a:ext cx="1421516" cy="1421092"/>
          </a:xfrm>
          <a:prstGeom prst="roundRect">
            <a:avLst/>
          </a:prstGeom>
          <a:ln w="28575">
            <a:solidFill>
              <a:schemeClr val="accent1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4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822643" y="1472626"/>
            <a:ext cx="1421516" cy="1421092"/>
          </a:xfrm>
          <a:prstGeom prst="roundRect">
            <a:avLst/>
          </a:prstGeom>
          <a:ln w="28575">
            <a:solidFill>
              <a:schemeClr val="accent2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37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4829092" y="1472626"/>
            <a:ext cx="1421516" cy="1421092"/>
          </a:xfrm>
          <a:prstGeom prst="roundRect">
            <a:avLst/>
          </a:prstGeom>
          <a:ln w="28575">
            <a:solidFill>
              <a:schemeClr val="accent3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6835350" y="1472626"/>
            <a:ext cx="1421516" cy="1421092"/>
          </a:xfrm>
          <a:prstGeom prst="roundRect">
            <a:avLst/>
          </a:prstGeom>
          <a:ln w="28575">
            <a:solidFill>
              <a:schemeClr val="accent4"/>
            </a:solidFill>
          </a:ln>
        </p:spPr>
        <p:txBody>
          <a:bodyPr bIns="18288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0" name="Round Same Side Corner Rectangle 9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1031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10316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093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4" grpId="0" animBg="1"/>
      <p:bldP spid="37" grpId="0" animBg="1"/>
      <p:bldP spid="40" grpId="0" animBg="1"/>
      <p:bldP spid="42" grpId="0"/>
      <p:bldP spid="4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am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val 39"/>
          <p:cNvSpPr/>
          <p:nvPr userDrawn="1"/>
        </p:nvSpPr>
        <p:spPr>
          <a:xfrm>
            <a:off x="1452601" y="1526704"/>
            <a:ext cx="2936519" cy="2936519"/>
          </a:xfrm>
          <a:prstGeom prst="ellipse">
            <a:avLst/>
          </a:prstGeom>
          <a:noFill/>
          <a:ln w="19050">
            <a:solidFill>
              <a:schemeClr val="tx2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5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1056569" y="2495701"/>
            <a:ext cx="997689" cy="99739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2438400" y="1124588"/>
            <a:ext cx="997689" cy="99739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1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784267" y="2503321"/>
            <a:ext cx="997689" cy="99739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2422016" y="3860358"/>
            <a:ext cx="997689" cy="997392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06762" y="3553224"/>
            <a:ext cx="1164563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1">
              <a:buNone/>
              <a:defRPr sz="11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4" name="Text Placeholder 3"/>
          <p:cNvSpPr>
            <a:spLocks noGrp="1"/>
          </p:cNvSpPr>
          <p:nvPr>
            <p:ph type="body" sz="half" idx="20"/>
          </p:nvPr>
        </p:nvSpPr>
        <p:spPr>
          <a:xfrm>
            <a:off x="1170318" y="4425136"/>
            <a:ext cx="1164563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1">
              <a:buNone/>
              <a:defRPr sz="11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5" name="Text Placeholder 3"/>
          <p:cNvSpPr>
            <a:spLocks noGrp="1"/>
          </p:cNvSpPr>
          <p:nvPr>
            <p:ph type="body" sz="half" idx="21"/>
          </p:nvPr>
        </p:nvSpPr>
        <p:spPr>
          <a:xfrm>
            <a:off x="3494818" y="1287714"/>
            <a:ext cx="1164563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1">
              <a:buNone/>
              <a:defRPr sz="11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6" name="Text Placeholder 3"/>
          <p:cNvSpPr>
            <a:spLocks noGrp="1"/>
          </p:cNvSpPr>
          <p:nvPr>
            <p:ph type="body" sz="half" idx="22"/>
          </p:nvPr>
        </p:nvSpPr>
        <p:spPr>
          <a:xfrm>
            <a:off x="4256824" y="3572474"/>
            <a:ext cx="1164563" cy="38173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1">
              <a:buNone/>
              <a:defRPr sz="11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Round Same Side Corner Rectangle 14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431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2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5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2" presetClass="entr" presetSubtype="8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500"/>
                            </p:stCondLst>
                            <p:childTnLst>
                              <p:par>
                                <p:cTn id="53" presetID="2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4" grpId="0"/>
      <p:bldP spid="4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animBg="1"/>
      <p:bldP spid="60" grpId="0" animBg="1"/>
      <p:bldP spid="61" grpId="0" animBg="1"/>
      <p:bldP spid="62" grpId="0" animBg="1"/>
      <p:bldP spid="63" grpId="0" build="p">
        <p:tmplLst>
          <p:tmpl lvl="1">
            <p:tnLst>
              <p:par>
                <p:cTn presetID="22" presetClass="entr" presetSubtype="2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5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4" grpId="0" build="p">
        <p:tmplLst>
          <p:tmpl lvl="1">
            <p:tnLst>
              <p:par>
                <p:cTn presetID="22" presetClass="entr" presetSubtype="2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500"/>
                        <p:tgtEl>
                          <p:spTgt spid="6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22" presetClass="entr" presetSubtype="8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22" presetClass="entr" presetSubtype="8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or 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MWC PROJECTS\MARS INC\4157 Leadership Summit 2014\assets\Leadership Summit Background Dots blu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402859" y="4976004"/>
            <a:ext cx="2947988" cy="677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083319"/>
            <a:ext cx="8229600" cy="1046375"/>
          </a:xfrm>
        </p:spPr>
        <p:txBody>
          <a:bodyPr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457200" y="3061407"/>
            <a:ext cx="8229600" cy="868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31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0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am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387350"/>
            <a:ext cx="5638800" cy="35352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0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739341"/>
            <a:ext cx="4114800" cy="20074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694093" y="1265983"/>
            <a:ext cx="2372431" cy="2371725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bIns="91440" anchor="b"/>
          <a:lstStyle>
            <a:lvl1pPr algn="ctr">
              <a:buNone/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  <p:sp>
        <p:nvSpPr>
          <p:cNvPr id="7" name="Round Same Side Corner Rectangle 6"/>
          <p:cNvSpPr/>
          <p:nvPr userDrawn="1"/>
        </p:nvSpPr>
        <p:spPr>
          <a:xfrm rot="16200000" flipH="1">
            <a:off x="8798358" y="4748930"/>
            <a:ext cx="288035" cy="40324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746831" y="4806537"/>
            <a:ext cx="381001" cy="274637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087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4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animBg="1"/>
    </p:bld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ind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146279"/>
            <a:ext cx="8229600" cy="2166127"/>
          </a:xfrm>
        </p:spPr>
        <p:txBody>
          <a:bodyPr wrap="square" lIns="0" tIns="0" rIns="0" bIns="0" anchor="t">
            <a:noAutofit/>
          </a:bodyPr>
          <a:lstStyle>
            <a:lvl1pPr>
              <a:spcAft>
                <a:spcPts val="0"/>
              </a:spcAft>
              <a:defRPr sz="6300" kern="1200" spc="-135"/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312406"/>
            <a:ext cx="8229600" cy="916694"/>
          </a:xfrm>
        </p:spPr>
        <p:txBody>
          <a:bodyPr/>
          <a:lstStyle>
            <a:lvl1pPr marL="0" indent="0" algn="l">
              <a:buNone/>
              <a:defRPr baseline="0">
                <a:solidFill>
                  <a:srgbClr val="000000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head if necessary</a:t>
            </a:r>
          </a:p>
          <a:p>
            <a:r>
              <a:rPr lang="en-US"/>
              <a:t>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30071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ind -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68223" y="63215"/>
            <a:ext cx="6866389" cy="545855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2700" spc="-113"/>
            </a:lvl1pPr>
          </a:lstStyle>
          <a:p>
            <a:r>
              <a:rPr lang="en-US"/>
              <a:t>Main headlin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748719"/>
            <a:ext cx="8229600" cy="384590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800"/>
            </a:lvl1pPr>
            <a:lvl2pPr>
              <a:spcAft>
                <a:spcPts val="0"/>
              </a:spcAft>
              <a:defRPr sz="1800"/>
            </a:lvl2pPr>
            <a:lvl3pPr>
              <a:spcAft>
                <a:spcPts val="0"/>
              </a:spcAft>
              <a:defRPr sz="1800"/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01520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Kind -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85800"/>
            <a:ext cx="8229600" cy="545855"/>
          </a:xfrm>
        </p:spPr>
        <p:txBody>
          <a:bodyPr>
            <a:noAutofit/>
          </a:bodyPr>
          <a:lstStyle>
            <a:lvl1pPr>
              <a:defRPr sz="3600" spc="-113"/>
            </a:lvl1pPr>
          </a:lstStyle>
          <a:p>
            <a:r>
              <a:rPr lang="en-US"/>
              <a:t>Main headlin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37019"/>
            <a:ext cx="8229600" cy="315760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800"/>
            </a:lvl1pPr>
            <a:lvl2pPr>
              <a:spcAft>
                <a:spcPts val="0"/>
              </a:spcAft>
              <a:defRPr sz="1800"/>
            </a:lvl2pPr>
            <a:lvl3pPr>
              <a:spcAft>
                <a:spcPts val="0"/>
              </a:spcAft>
              <a:defRPr sz="1800"/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7035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ind - Two Colum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5458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64138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Kind - Two Colum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56625"/>
            <a:ext cx="6858000" cy="5458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54905"/>
            <a:ext cx="4038600" cy="323971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3538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ind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03147"/>
            <a:ext cx="4040188" cy="480705"/>
          </a:xfrm>
        </p:spPr>
        <p:txBody>
          <a:bodyPr anchor="b">
            <a:normAutofit/>
          </a:bodyPr>
          <a:lstStyle>
            <a:lvl1pPr marL="0" indent="0">
              <a:buNone/>
              <a:defRPr sz="1350" b="1">
                <a:latin typeface="Helvetica"/>
                <a:cs typeface="Helvetic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102649"/>
            <a:ext cx="4040188" cy="3565824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703147"/>
            <a:ext cx="4041775" cy="480705"/>
          </a:xfrm>
        </p:spPr>
        <p:txBody>
          <a:bodyPr anchor="b">
            <a:normAutofit/>
          </a:bodyPr>
          <a:lstStyle>
            <a:lvl1pPr marL="0" indent="0">
              <a:buNone/>
              <a:defRPr sz="1350" b="1">
                <a:latin typeface="Helvetica"/>
                <a:cs typeface="Helvetic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102649"/>
            <a:ext cx="4041775" cy="3565824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828800" y="56625"/>
            <a:ext cx="6858000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2700">
                <a:solidFill>
                  <a:srgbClr val="000000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32747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ind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5458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99847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ind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4071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ind -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386556"/>
          </a:xfrm>
        </p:spPr>
        <p:txBody>
          <a:bodyPr anchor="t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076326"/>
            <a:ext cx="5111750" cy="3518297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>
            <a:normAutofit/>
          </a:bodyPr>
          <a:lstStyle>
            <a:lvl1pPr marL="0" indent="0">
              <a:buNone/>
              <a:defRPr sz="13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816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5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image" Target="../media/image17.jpeg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85.xml"/><Relationship Id="rId47" Type="http://schemas.openxmlformats.org/officeDocument/2006/relationships/slideLayout" Target="../slideLayouts/slideLayout90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83.xml"/><Relationship Id="rId45" Type="http://schemas.openxmlformats.org/officeDocument/2006/relationships/slideLayout" Target="../slideLayouts/slideLayout88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4" Type="http://schemas.openxmlformats.org/officeDocument/2006/relationships/slideLayout" Target="../slideLayouts/slideLayout87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slideLayout" Target="../slideLayouts/slideLayout86.xml"/><Relationship Id="rId48" Type="http://schemas.openxmlformats.org/officeDocument/2006/relationships/theme" Target="../theme/theme7.xml"/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4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63.xml"/><Relationship Id="rId41" Type="http://schemas.openxmlformats.org/officeDocument/2006/relationships/slideLayout" Target="../slideLayouts/slideLayout8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8.xml"/><Relationship Id="rId17" Type="http://schemas.openxmlformats.org/officeDocument/2006/relationships/image" Target="../media/image21.emf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20.emf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tags" Target="../tags/tag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04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image" Target="../media/image24.png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image" Target="../media/image23.jpeg"/><Relationship Id="rId10" Type="http://schemas.openxmlformats.org/officeDocument/2006/relationships/slideLayout" Target="../slideLayouts/slideLayout111.xml"/><Relationship Id="rId19" Type="http://schemas.openxmlformats.org/officeDocument/2006/relationships/vmlDrawing" Target="../drawings/vmlDrawing4.v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image" Target="../media/image2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  <p:pic>
        <p:nvPicPr>
          <p:cNvPr id="12" name="Picture 3" descr="D:\MWC PROJECTS\MARS INC\4157 Leadership Summit 2014\assets\Leadership Summit Background Dots dk blue brighter.jpg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 flipV="1">
            <a:off x="0" y="0"/>
            <a:ext cx="9144000" cy="79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85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662" r:id="rId2"/>
    <p:sldLayoutId id="2147483661" r:id="rId3"/>
    <p:sldLayoutId id="2147483668" r:id="rId4"/>
    <p:sldLayoutId id="2147483670" r:id="rId5"/>
    <p:sldLayoutId id="2147483671" r:id="rId6"/>
    <p:sldLayoutId id="2147483673" r:id="rId7"/>
    <p:sldLayoutId id="2147483716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D:\MWC PROJECTS\MARS INC\4157 Leadership Summit 2014\assets\Leadership Summit Background Dots blue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79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2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312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D:\MWC PROJECTS\MARS INC\4157 Leadership Summit 2014\assets\Leadership Summit Background Dots PINK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791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4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089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MWC PROJECTS\MARS INC\4157 Leadership Summit 2014\assets\Leadership Summit Background Dots ls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79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5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364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D:\MWC PROJECTS\MARS INC\4157 Leadership Summit 2014\assets\Leadership Summit Background Dots ls orange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9144000" cy="791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6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373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714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D:\MWC PROJECTS\MARS INC\4157 Leadership Summit 2014\assets\Leadership Summit Background Dots purple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79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6638279" cy="796636"/>
          </a:xfrm>
          <a:prstGeom prst="rect">
            <a:avLst/>
          </a:prstGeom>
          <a:gradFill flip="none" rotWithShape="1">
            <a:gsLst>
              <a:gs pos="26000">
                <a:schemeClr val="accent3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4"/>
            <a:ext cx="2947988" cy="6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marL="0" marR="0" indent="0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 b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1" y="4860292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3683" y="7070"/>
            <a:ext cx="8629481" cy="78478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colorsFinal-2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4837287"/>
            <a:ext cx="803563" cy="19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479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15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7" marR="0" indent="-127397" algn="l" defTabSz="914400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35" marR="0" indent="-134541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800" marR="0" indent="-103585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31" marR="0" indent="-109538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35" marR="0" indent="-80963" algn="l" defTabSz="914400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3409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  <p:sldLayoutId id="2147483791" r:id="rId36"/>
    <p:sldLayoutId id="2147483792" r:id="rId37"/>
    <p:sldLayoutId id="2147483793" r:id="rId38"/>
    <p:sldLayoutId id="2147483794" r:id="rId39"/>
    <p:sldLayoutId id="2147483795" r:id="rId40"/>
    <p:sldLayoutId id="2147483796" r:id="rId41"/>
    <p:sldLayoutId id="2147483797" r:id="rId42"/>
    <p:sldLayoutId id="2147483798" r:id="rId43"/>
    <p:sldLayoutId id="2147483799" r:id="rId44"/>
    <p:sldLayoutId id="2147483800" r:id="rId45"/>
    <p:sldLayoutId id="2147483801" r:id="rId46"/>
    <p:sldLayoutId id="2147483802" r:id="rId4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73345"/>
            <a:ext cx="8229600" cy="5458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5153"/>
            <a:ext cx="8229600" cy="29194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600" b="1" baseline="0" smtClean="0"/>
            </a:lvl1pPr>
          </a:lstStyle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3134" y="4767264"/>
            <a:ext cx="5636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>
                <a:solidFill>
                  <a:schemeClr val="tx1"/>
                </a:solidFill>
                <a:latin typeface="Helvetica"/>
                <a:cs typeface="Helvetica"/>
              </a:defRPr>
            </a:lvl1pPr>
          </a:lstStyle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767263"/>
            <a:ext cx="8229600" cy="1191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KIND Logo_Pos.eps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0" y="-7809"/>
            <a:ext cx="887027" cy="60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93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</p:sldLayoutIdLst>
  <p:hf hdr="0"/>
  <p:txStyles>
    <p:titleStyle>
      <a:lvl1pPr algn="l" defTabSz="342900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D7C64A-C399-47B3-BB1D-6713589AEA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D7C64A-C399-47B3-BB1D-6713589AEA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05" b="81221"/>
          <a:stretch/>
        </p:blipFill>
        <p:spPr>
          <a:xfrm>
            <a:off x="0" y="1"/>
            <a:ext cx="9144000" cy="785611"/>
          </a:xfrm>
          <a:prstGeom prst="rect">
            <a:avLst/>
          </a:prstGeom>
        </p:spPr>
      </p:pic>
      <p:pic>
        <p:nvPicPr>
          <p:cNvPr id="5" name="Picture 4" descr="colorsFinal-2.png"/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1" y="4837288"/>
            <a:ext cx="803563" cy="194331"/>
          </a:xfrm>
          <a:prstGeom prst="rect">
            <a:avLst/>
          </a:prstGeom>
        </p:spPr>
      </p:pic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08841" y="4976005"/>
            <a:ext cx="2947988" cy="699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 defTabSz="457189">
              <a:lnSpc>
                <a:spcPct val="101000"/>
              </a:lnSpc>
              <a:spcBef>
                <a:spcPct val="50000"/>
              </a:spcBef>
              <a:defRPr/>
            </a:pPr>
            <a:r>
              <a:rPr lang="en-US" sz="45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COPYRIGHT MARS INCORPORATED   |  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942" y="4860293"/>
            <a:ext cx="355997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ctr">
              <a:defRPr sz="788" b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defTabSz="457189"/>
            <a:fld id="{1B68E7C4-D4E4-4C29-82F8-A95A6A721B1F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189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349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marR="0" indent="0" algn="l" defTabSz="914378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sz="2400" b="1" kern="1200" cap="none" spc="0" baseline="0">
          <a:ln>
            <a:noFill/>
          </a:ln>
          <a:solidFill>
            <a:schemeClr val="bg1"/>
          </a:solidFill>
          <a:effectLst/>
          <a:latin typeface="Calibri" panose="020F0502020204030204" pitchFamily="34" charset="0"/>
          <a:ea typeface="+mj-ea"/>
          <a:cs typeface="+mj-cs"/>
        </a:defRPr>
      </a:lvl1pPr>
    </p:titleStyle>
    <p:bodyStyle>
      <a:lvl1pPr marL="127394" marR="0" indent="-127394" algn="l" defTabSz="914378" rtl="0" eaLnBrk="1" latinLnBrk="0" hangingPunct="1">
        <a:lnSpc>
          <a:spcPct val="80000"/>
        </a:lnSpc>
        <a:spcBef>
          <a:spcPts val="45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defRPr sz="165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89325" marR="0" indent="-134538" algn="l" defTabSz="914378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Marsfont" pitchFamily="50" charset="0"/>
        <a:buChar char="–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85783" marR="0" indent="-103583" algn="l" defTabSz="914378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2"/>
        </a:buClr>
        <a:buFont typeface="Arial" pitchFamily="34" charset="0"/>
        <a:buChar char="•"/>
        <a:tabLst/>
        <a:defRPr sz="1350" i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97709" marR="0" indent="-109535" algn="l" defTabSz="914378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5108" marR="0" indent="-80961" algn="l" defTabSz="914378" rtl="0" eaLnBrk="1" latinLnBrk="0" hangingPunct="1">
        <a:lnSpc>
          <a:spcPct val="80000"/>
        </a:lnSpc>
        <a:spcBef>
          <a:spcPts val="0"/>
        </a:spcBef>
        <a:spcAft>
          <a:spcPts val="900"/>
        </a:spcAft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737317" indent="-182876" algn="l" defTabSz="91437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192" indent="-182876" algn="l" defTabSz="914378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068" indent="-182876" algn="l" defTabSz="914378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5943" indent="-182876" algn="l" defTabSz="914378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47.jp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4.png"/><Relationship Id="rId7" Type="http://schemas.openxmlformats.org/officeDocument/2006/relationships/image" Target="../media/image52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5" Type="http://schemas.openxmlformats.org/officeDocument/2006/relationships/image" Target="../media/image50.sv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7EC89-90AD-4DBF-9F91-76CCC7FC41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832129"/>
            <a:ext cx="8229600" cy="2166127"/>
          </a:xfrm>
        </p:spPr>
        <p:txBody>
          <a:bodyPr/>
          <a:lstStyle/>
          <a:p>
            <a:r>
              <a:rPr lang="en-US" sz="4000"/>
              <a:t>KIND 360</a:t>
            </a:r>
            <a:br>
              <a:rPr lang="en-US" sz="4000"/>
            </a:br>
            <a:r>
              <a:rPr lang="en-US" sz="4000" b="0"/>
              <a:t>UK DBP and P&amp;L – Design Think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2D9A48-4F07-4A3F-8BD9-0D90B4ABD0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656963"/>
            <a:ext cx="8229600" cy="916694"/>
          </a:xfrm>
        </p:spPr>
        <p:txBody>
          <a:bodyPr/>
          <a:lstStyle/>
          <a:p>
            <a:r>
              <a:rPr lang="en-US"/>
              <a:t>27</a:t>
            </a:r>
            <a:r>
              <a:rPr lang="en-US" baseline="30000"/>
              <a:t>th  </a:t>
            </a:r>
            <a:r>
              <a:rPr lang="en-US"/>
              <a:t>November, 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E86685-89F9-4C23-A172-82E9597B0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A3BEEB-87BA-4D2D-A90A-73CBE5CB3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224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B3FA-AAA0-47C7-B165-A260F0BCD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E70550-352A-4D2B-B321-FEACB94EA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358E2C-41E5-4416-AE36-A3D1B8C8F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39" y="1022004"/>
            <a:ext cx="7249695" cy="545855"/>
          </a:xfrm>
        </p:spPr>
        <p:txBody>
          <a:bodyPr>
            <a:noAutofit/>
          </a:bodyPr>
          <a:lstStyle/>
          <a:p>
            <a:r>
              <a:rPr lang="en-US" sz="3200" spc="0"/>
              <a:t>Agenda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ED60644-453A-4872-86BA-7B618A2A0FA8}"/>
              </a:ext>
            </a:extLst>
          </p:cNvPr>
          <p:cNvSpPr txBox="1">
            <a:spLocks/>
          </p:cNvSpPr>
          <p:nvPr/>
        </p:nvSpPr>
        <p:spPr>
          <a:xfrm>
            <a:off x="1521508" y="1857985"/>
            <a:ext cx="7249695" cy="5458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/>
              <a:t>Questionnair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/>
              <a:t>DBP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0"/>
              <a:t>Customer P&amp;L</a:t>
            </a:r>
          </a:p>
          <a:p>
            <a:endParaRPr lang="en-US" sz="1800" b="0"/>
          </a:p>
        </p:txBody>
      </p:sp>
    </p:spTree>
    <p:extLst>
      <p:ext uri="{BB962C8B-B14F-4D97-AF65-F5344CB8AC3E}">
        <p14:creationId xmlns:p14="http://schemas.microsoft.com/office/powerpoint/2010/main" val="1536301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5D1EED-E993-4032-AF6D-073240EEC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confidential – for internal use only</a:t>
            </a:r>
          </a:p>
        </p:txBody>
      </p:sp>
      <p:grpSp>
        <p:nvGrpSpPr>
          <p:cNvPr id="7" name="Group 14">
            <a:extLst>
              <a:ext uri="{FF2B5EF4-FFF2-40B4-BE49-F238E27FC236}">
                <a16:creationId xmlns:a16="http://schemas.microsoft.com/office/drawing/2014/main" id="{1575B929-7CCF-4295-90DD-D7BB989AAC16}"/>
              </a:ext>
            </a:extLst>
          </p:cNvPr>
          <p:cNvGrpSpPr/>
          <p:nvPr/>
        </p:nvGrpSpPr>
        <p:grpSpPr>
          <a:xfrm>
            <a:off x="3733800" y="769051"/>
            <a:ext cx="1676400" cy="1944624"/>
            <a:chOff x="3734181" y="1102012"/>
            <a:chExt cx="1676400" cy="1944624"/>
          </a:xfrm>
        </p:grpSpPr>
        <p:sp>
          <p:nvSpPr>
            <p:cNvPr id="8" name="Hexagon 7">
              <a:extLst>
                <a:ext uri="{FF2B5EF4-FFF2-40B4-BE49-F238E27FC236}">
                  <a16:creationId xmlns:a16="http://schemas.microsoft.com/office/drawing/2014/main" id="{56293BB6-520C-4500-BCA7-83339DF4F3DB}"/>
                </a:ext>
              </a:extLst>
            </p:cNvPr>
            <p:cNvSpPr/>
            <p:nvPr/>
          </p:nvSpPr>
          <p:spPr bwMode="auto">
            <a:xfrm rot="5400000">
              <a:off x="3600069" y="1236124"/>
              <a:ext cx="1944624" cy="1676400"/>
            </a:xfrm>
            <a:prstGeom prst="hexagon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6DC68EE1-F124-4819-88F5-4666B354D8BD}"/>
                </a:ext>
              </a:extLst>
            </p:cNvPr>
            <p:cNvSpPr/>
            <p:nvPr/>
          </p:nvSpPr>
          <p:spPr bwMode="auto">
            <a:xfrm rot="5400000">
              <a:off x="3734501" y="1369093"/>
              <a:ext cx="1636136" cy="1410462"/>
            </a:xfrm>
            <a:prstGeom prst="hexagon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0" name="Group 18">
            <a:extLst>
              <a:ext uri="{FF2B5EF4-FFF2-40B4-BE49-F238E27FC236}">
                <a16:creationId xmlns:a16="http://schemas.microsoft.com/office/drawing/2014/main" id="{B4587436-C0E4-4B69-ACF8-85316329C7CF}"/>
              </a:ext>
            </a:extLst>
          </p:cNvPr>
          <p:cNvGrpSpPr/>
          <p:nvPr/>
        </p:nvGrpSpPr>
        <p:grpSpPr>
          <a:xfrm>
            <a:off x="4591050" y="2324514"/>
            <a:ext cx="1676400" cy="1944624"/>
            <a:chOff x="3734181" y="1102012"/>
            <a:chExt cx="1676400" cy="1944624"/>
          </a:xfrm>
        </p:grpSpPr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392F0ABA-7222-4E5F-B62F-7A9B8054ED39}"/>
                </a:ext>
              </a:extLst>
            </p:cNvPr>
            <p:cNvSpPr/>
            <p:nvPr/>
          </p:nvSpPr>
          <p:spPr bwMode="auto">
            <a:xfrm rot="5400000">
              <a:off x="3600069" y="1236124"/>
              <a:ext cx="1944624" cy="1676400"/>
            </a:xfrm>
            <a:prstGeom prst="hexagon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FAC9F75D-CB88-4FF3-AEAD-B41331C172EF}"/>
                </a:ext>
              </a:extLst>
            </p:cNvPr>
            <p:cNvSpPr/>
            <p:nvPr/>
          </p:nvSpPr>
          <p:spPr bwMode="auto">
            <a:xfrm rot="5400000">
              <a:off x="3734501" y="1369093"/>
              <a:ext cx="1636136" cy="1410462"/>
            </a:xfrm>
            <a:prstGeom prst="hexagon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3" name="Group 24">
            <a:extLst>
              <a:ext uri="{FF2B5EF4-FFF2-40B4-BE49-F238E27FC236}">
                <a16:creationId xmlns:a16="http://schemas.microsoft.com/office/drawing/2014/main" id="{C13988B7-B51F-4168-8F3F-2B3893F6071A}"/>
              </a:ext>
            </a:extLst>
          </p:cNvPr>
          <p:cNvGrpSpPr/>
          <p:nvPr/>
        </p:nvGrpSpPr>
        <p:grpSpPr>
          <a:xfrm>
            <a:off x="2875788" y="2324514"/>
            <a:ext cx="1676400" cy="1944624"/>
            <a:chOff x="3734181" y="1102012"/>
            <a:chExt cx="1676400" cy="1944624"/>
          </a:xfrm>
        </p:grpSpPr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9848770A-4416-4EFD-8AA4-73352882560C}"/>
                </a:ext>
              </a:extLst>
            </p:cNvPr>
            <p:cNvSpPr/>
            <p:nvPr/>
          </p:nvSpPr>
          <p:spPr bwMode="auto">
            <a:xfrm rot="5400000">
              <a:off x="3600069" y="1236124"/>
              <a:ext cx="1944624" cy="1676400"/>
            </a:xfrm>
            <a:prstGeom prst="hexagon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2C720F54-CF4C-446B-85F3-38ED6C4AA956}"/>
                </a:ext>
              </a:extLst>
            </p:cNvPr>
            <p:cNvSpPr/>
            <p:nvPr/>
          </p:nvSpPr>
          <p:spPr bwMode="auto">
            <a:xfrm rot="5400000">
              <a:off x="3734501" y="1369093"/>
              <a:ext cx="1636136" cy="1410462"/>
            </a:xfrm>
            <a:prstGeom prst="hexagon">
              <a:avLst/>
            </a:prstGeom>
            <a:no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57A89605-7B20-4CEC-AC1D-9575334D8EEA}"/>
              </a:ext>
            </a:extLst>
          </p:cNvPr>
          <p:cNvSpPr>
            <a:spLocks noChangeAspect="1"/>
          </p:cNvSpPr>
          <p:nvPr/>
        </p:nvSpPr>
        <p:spPr>
          <a:xfrm>
            <a:off x="3962019" y="2102653"/>
            <a:ext cx="1258062" cy="122204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b="1">
              <a:solidFill>
                <a:schemeClr val="accent1"/>
              </a:solidFill>
              <a:latin typeface="FontAwesome" pitchFamily="2" charset="0"/>
            </a:endParaRPr>
          </a:p>
        </p:txBody>
      </p:sp>
      <p:grpSp>
        <p:nvGrpSpPr>
          <p:cNvPr id="19" name="Group 32">
            <a:extLst>
              <a:ext uri="{FF2B5EF4-FFF2-40B4-BE49-F238E27FC236}">
                <a16:creationId xmlns:a16="http://schemas.microsoft.com/office/drawing/2014/main" id="{A2369421-EF14-41CF-90E9-F6A12B39B522}"/>
              </a:ext>
            </a:extLst>
          </p:cNvPr>
          <p:cNvGrpSpPr/>
          <p:nvPr/>
        </p:nvGrpSpPr>
        <p:grpSpPr>
          <a:xfrm>
            <a:off x="1458598" y="814369"/>
            <a:ext cx="2189066" cy="1268188"/>
            <a:chOff x="741363" y="1171731"/>
            <a:chExt cx="2189066" cy="1268188"/>
          </a:xfrm>
        </p:grpSpPr>
        <p:sp>
          <p:nvSpPr>
            <p:cNvPr id="20" name="Text Placeholder 3">
              <a:extLst>
                <a:ext uri="{FF2B5EF4-FFF2-40B4-BE49-F238E27FC236}">
                  <a16:creationId xmlns:a16="http://schemas.microsoft.com/office/drawing/2014/main" id="{89457A45-6E7A-4B99-A5D8-140598854F52}"/>
                </a:ext>
              </a:extLst>
            </p:cNvPr>
            <p:cNvSpPr txBox="1">
              <a:spLocks/>
            </p:cNvSpPr>
            <p:nvPr/>
          </p:nvSpPr>
          <p:spPr>
            <a:xfrm>
              <a:off x="787746" y="1171731"/>
              <a:ext cx="1684692" cy="184666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USINESS REQUIREMENTS</a:t>
              </a:r>
            </a:p>
          </p:txBody>
        </p:sp>
        <p:sp>
          <p:nvSpPr>
            <p:cNvPr id="21" name="Text Placeholder 3">
              <a:extLst>
                <a:ext uri="{FF2B5EF4-FFF2-40B4-BE49-F238E27FC236}">
                  <a16:creationId xmlns:a16="http://schemas.microsoft.com/office/drawing/2014/main" id="{FE779BA4-FB0E-46AE-90DF-D6EE0FB6922E}"/>
                </a:ext>
              </a:extLst>
            </p:cNvPr>
            <p:cNvSpPr txBox="1">
              <a:spLocks/>
            </p:cNvSpPr>
            <p:nvPr/>
          </p:nvSpPr>
          <p:spPr>
            <a:xfrm>
              <a:off x="741363" y="1470423"/>
              <a:ext cx="2189066" cy="969496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at are the business functions that will require daily decision making?</a:t>
              </a:r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at decisions do you take on a daily basis? What action does it lead to?</a:t>
              </a:r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w do you take those decisions?</a:t>
              </a:r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at is your success criteria for the project?</a:t>
              </a:r>
            </a:p>
          </p:txBody>
        </p:sp>
      </p:grpSp>
      <p:grpSp>
        <p:nvGrpSpPr>
          <p:cNvPr id="22" name="Group 33">
            <a:extLst>
              <a:ext uri="{FF2B5EF4-FFF2-40B4-BE49-F238E27FC236}">
                <a16:creationId xmlns:a16="http://schemas.microsoft.com/office/drawing/2014/main" id="{47CCA778-7B84-4C7E-9B9B-73F8C33A7F33}"/>
              </a:ext>
            </a:extLst>
          </p:cNvPr>
          <p:cNvGrpSpPr/>
          <p:nvPr/>
        </p:nvGrpSpPr>
        <p:grpSpPr>
          <a:xfrm>
            <a:off x="629592" y="2858540"/>
            <a:ext cx="2189066" cy="1119874"/>
            <a:chOff x="713269" y="1335173"/>
            <a:chExt cx="2189066" cy="1119874"/>
          </a:xfrm>
        </p:grpSpPr>
        <p:sp>
          <p:nvSpPr>
            <p:cNvPr id="23" name="Text Placeholder 3">
              <a:extLst>
                <a:ext uri="{FF2B5EF4-FFF2-40B4-BE49-F238E27FC236}">
                  <a16:creationId xmlns:a16="http://schemas.microsoft.com/office/drawing/2014/main" id="{A96254B0-47E2-486F-A60E-1C8EF87C55A0}"/>
                </a:ext>
              </a:extLst>
            </p:cNvPr>
            <p:cNvSpPr txBox="1">
              <a:spLocks/>
            </p:cNvSpPr>
            <p:nvPr/>
          </p:nvSpPr>
          <p:spPr>
            <a:xfrm>
              <a:off x="741363" y="1335173"/>
              <a:ext cx="938783" cy="184666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OLUTIONING </a:t>
              </a:r>
            </a:p>
          </p:txBody>
        </p:sp>
        <p:sp>
          <p:nvSpPr>
            <p:cNvPr id="24" name="Text Placeholder 3">
              <a:extLst>
                <a:ext uri="{FF2B5EF4-FFF2-40B4-BE49-F238E27FC236}">
                  <a16:creationId xmlns:a16="http://schemas.microsoft.com/office/drawing/2014/main" id="{39F4FACE-3CE9-4F8C-B45E-52A8ACF1451F}"/>
                </a:ext>
              </a:extLst>
            </p:cNvPr>
            <p:cNvSpPr txBox="1">
              <a:spLocks/>
            </p:cNvSpPr>
            <p:nvPr/>
          </p:nvSpPr>
          <p:spPr>
            <a:xfrm>
              <a:off x="713269" y="1624050"/>
              <a:ext cx="2189066" cy="830997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o you have similar solutions in place (e.g. across other markets?)?</a:t>
              </a:r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at are your pain-points in the current solution?</a:t>
              </a:r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at would you like to enhance in the new solution?</a:t>
              </a:r>
            </a:p>
          </p:txBody>
        </p:sp>
      </p:grpSp>
      <p:grpSp>
        <p:nvGrpSpPr>
          <p:cNvPr id="25" name="Group 37">
            <a:extLst>
              <a:ext uri="{FF2B5EF4-FFF2-40B4-BE49-F238E27FC236}">
                <a16:creationId xmlns:a16="http://schemas.microsoft.com/office/drawing/2014/main" id="{819A4504-287B-43B5-91AF-7D9F16E397E3}"/>
              </a:ext>
            </a:extLst>
          </p:cNvPr>
          <p:cNvGrpSpPr/>
          <p:nvPr/>
        </p:nvGrpSpPr>
        <p:grpSpPr>
          <a:xfrm>
            <a:off x="6399939" y="2879683"/>
            <a:ext cx="2189066" cy="1258177"/>
            <a:chOff x="741363" y="1313482"/>
            <a:chExt cx="2189066" cy="1258177"/>
          </a:xfrm>
        </p:grpSpPr>
        <p:sp>
          <p:nvSpPr>
            <p:cNvPr id="26" name="Text Placeholder 3">
              <a:extLst>
                <a:ext uri="{FF2B5EF4-FFF2-40B4-BE49-F238E27FC236}">
                  <a16:creationId xmlns:a16="http://schemas.microsoft.com/office/drawing/2014/main" id="{F650B8EC-10C4-4A8D-9FC4-DB58ED2EF798}"/>
                </a:ext>
              </a:extLst>
            </p:cNvPr>
            <p:cNvSpPr txBox="1">
              <a:spLocks/>
            </p:cNvSpPr>
            <p:nvPr/>
          </p:nvSpPr>
          <p:spPr>
            <a:xfrm>
              <a:off x="899102" y="1313482"/>
              <a:ext cx="368179" cy="184666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ATA </a:t>
              </a:r>
            </a:p>
          </p:txBody>
        </p:sp>
        <p:sp>
          <p:nvSpPr>
            <p:cNvPr id="27" name="Text Placeholder 3">
              <a:extLst>
                <a:ext uri="{FF2B5EF4-FFF2-40B4-BE49-F238E27FC236}">
                  <a16:creationId xmlns:a16="http://schemas.microsoft.com/office/drawing/2014/main" id="{1731D28B-E320-415B-A53E-B41ACD71CB4D}"/>
                </a:ext>
              </a:extLst>
            </p:cNvPr>
            <p:cNvSpPr txBox="1">
              <a:spLocks/>
            </p:cNvSpPr>
            <p:nvPr/>
          </p:nvSpPr>
          <p:spPr>
            <a:xfrm>
              <a:off x="741363" y="1602163"/>
              <a:ext cx="2189066" cy="969496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ctr">
                <a:buNone/>
                <a:defRPr sz="16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IN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at are the data sources that we’re using for the current solution?</a:t>
              </a:r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IN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ow is the data harmonized and orchestrated for the current solution?</a:t>
              </a:r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IN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 enable enhancements to the current solution, do we have all the necessary data?</a:t>
              </a:r>
              <a:endPara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8" name="Group 21">
            <a:extLst>
              <a:ext uri="{FF2B5EF4-FFF2-40B4-BE49-F238E27FC236}">
                <a16:creationId xmlns:a16="http://schemas.microsoft.com/office/drawing/2014/main" id="{86AC4FD2-8DE9-475F-A8AB-C8F33F1A165C}"/>
              </a:ext>
            </a:extLst>
          </p:cNvPr>
          <p:cNvGrpSpPr/>
          <p:nvPr/>
        </p:nvGrpSpPr>
        <p:grpSpPr>
          <a:xfrm>
            <a:off x="5144722" y="3037559"/>
            <a:ext cx="518534" cy="518534"/>
            <a:chOff x="8780463" y="1906588"/>
            <a:chExt cx="360363" cy="360363"/>
          </a:xfrm>
          <a:solidFill>
            <a:schemeClr val="bg1"/>
          </a:solidFill>
        </p:grpSpPr>
        <p:sp>
          <p:nvSpPr>
            <p:cNvPr id="29" name="Freeform 93">
              <a:extLst>
                <a:ext uri="{FF2B5EF4-FFF2-40B4-BE49-F238E27FC236}">
                  <a16:creationId xmlns:a16="http://schemas.microsoft.com/office/drawing/2014/main" id="{117BB86B-2788-4357-8CDD-C7782E11E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0463" y="1938338"/>
              <a:ext cx="328613" cy="328613"/>
            </a:xfrm>
            <a:custGeom>
              <a:avLst/>
              <a:gdLst/>
              <a:ahLst/>
              <a:cxnLst>
                <a:cxn ang="0">
                  <a:pos x="80" y="3"/>
                </a:cxn>
                <a:cxn ang="0">
                  <a:pos x="73" y="0"/>
                </a:cxn>
                <a:cxn ang="0">
                  <a:pos x="66" y="3"/>
                </a:cxn>
                <a:cxn ang="0">
                  <a:pos x="61" y="9"/>
                </a:cxn>
                <a:cxn ang="0">
                  <a:pos x="58" y="15"/>
                </a:cxn>
                <a:cxn ang="0">
                  <a:pos x="60" y="20"/>
                </a:cxn>
                <a:cxn ang="0">
                  <a:pos x="8" y="41"/>
                </a:cxn>
                <a:cxn ang="0">
                  <a:pos x="1" y="50"/>
                </a:cxn>
                <a:cxn ang="0">
                  <a:pos x="4" y="60"/>
                </a:cxn>
                <a:cxn ang="0">
                  <a:pos x="53" y="108"/>
                </a:cxn>
                <a:cxn ang="0">
                  <a:pos x="61" y="112"/>
                </a:cxn>
                <a:cxn ang="0">
                  <a:pos x="61" y="112"/>
                </a:cxn>
                <a:cxn ang="0">
                  <a:pos x="63" y="111"/>
                </a:cxn>
                <a:cxn ang="0">
                  <a:pos x="72" y="104"/>
                </a:cxn>
                <a:cxn ang="0">
                  <a:pos x="92" y="53"/>
                </a:cxn>
                <a:cxn ang="0">
                  <a:pos x="97" y="55"/>
                </a:cxn>
                <a:cxn ang="0">
                  <a:pos x="104" y="52"/>
                </a:cxn>
                <a:cxn ang="0">
                  <a:pos x="110" y="46"/>
                </a:cxn>
                <a:cxn ang="0">
                  <a:pos x="112" y="40"/>
                </a:cxn>
                <a:cxn ang="0">
                  <a:pos x="110" y="33"/>
                </a:cxn>
                <a:cxn ang="0">
                  <a:pos x="80" y="3"/>
                </a:cxn>
                <a:cxn ang="0">
                  <a:pos x="65" y="102"/>
                </a:cxn>
                <a:cxn ang="0">
                  <a:pos x="62" y="104"/>
                </a:cxn>
                <a:cxn ang="0">
                  <a:pos x="61" y="104"/>
                </a:cxn>
                <a:cxn ang="0">
                  <a:pos x="58" y="103"/>
                </a:cxn>
                <a:cxn ang="0">
                  <a:pos x="9" y="55"/>
                </a:cxn>
                <a:cxn ang="0">
                  <a:pos x="8" y="51"/>
                </a:cxn>
                <a:cxn ang="0">
                  <a:pos x="11" y="48"/>
                </a:cxn>
                <a:cxn ang="0">
                  <a:pos x="34" y="39"/>
                </a:cxn>
                <a:cxn ang="0">
                  <a:pos x="83" y="56"/>
                </a:cxn>
                <a:cxn ang="0">
                  <a:pos x="65" y="102"/>
                </a:cxn>
                <a:cxn ang="0">
                  <a:pos x="104" y="41"/>
                </a:cxn>
                <a:cxn ang="0">
                  <a:pos x="99" y="46"/>
                </a:cxn>
                <a:cxn ang="0">
                  <a:pos x="96" y="46"/>
                </a:cxn>
                <a:cxn ang="0">
                  <a:pos x="89" y="40"/>
                </a:cxn>
                <a:cxn ang="0">
                  <a:pos x="84" y="53"/>
                </a:cxn>
                <a:cxn ang="0">
                  <a:pos x="84" y="52"/>
                </a:cxn>
                <a:cxn ang="0">
                  <a:pos x="50" y="38"/>
                </a:cxn>
                <a:cxn ang="0">
                  <a:pos x="40" y="36"/>
                </a:cxn>
                <a:cxn ang="0">
                  <a:pos x="73" y="23"/>
                </a:cxn>
                <a:cxn ang="0">
                  <a:pos x="66" y="17"/>
                </a:cxn>
                <a:cxn ang="0">
                  <a:pos x="66" y="14"/>
                </a:cxn>
                <a:cxn ang="0">
                  <a:pos x="72" y="9"/>
                </a:cxn>
                <a:cxn ang="0">
                  <a:pos x="75" y="9"/>
                </a:cxn>
                <a:cxn ang="0">
                  <a:pos x="104" y="38"/>
                </a:cxn>
                <a:cxn ang="0">
                  <a:pos x="104" y="41"/>
                </a:cxn>
                <a:cxn ang="0">
                  <a:pos x="104" y="41"/>
                </a:cxn>
                <a:cxn ang="0">
                  <a:pos x="104" y="41"/>
                </a:cxn>
              </a:cxnLst>
              <a:rect l="0" t="0" r="r" b="b"/>
              <a:pathLst>
                <a:path w="112" h="112">
                  <a:moveTo>
                    <a:pt x="80" y="3"/>
                  </a:moveTo>
                  <a:cubicBezTo>
                    <a:pt x="78" y="1"/>
                    <a:pt x="76" y="0"/>
                    <a:pt x="73" y="0"/>
                  </a:cubicBezTo>
                  <a:cubicBezTo>
                    <a:pt x="71" y="0"/>
                    <a:pt x="68" y="1"/>
                    <a:pt x="66" y="3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59" y="10"/>
                    <a:pt x="58" y="13"/>
                    <a:pt x="58" y="15"/>
                  </a:cubicBezTo>
                  <a:cubicBezTo>
                    <a:pt x="58" y="17"/>
                    <a:pt x="59" y="19"/>
                    <a:pt x="60" y="20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4" y="43"/>
                    <a:pt x="2" y="46"/>
                    <a:pt x="1" y="50"/>
                  </a:cubicBezTo>
                  <a:cubicBezTo>
                    <a:pt x="0" y="53"/>
                    <a:pt x="1" y="57"/>
                    <a:pt x="4" y="60"/>
                  </a:cubicBezTo>
                  <a:cubicBezTo>
                    <a:pt x="53" y="108"/>
                    <a:pt x="53" y="108"/>
                    <a:pt x="53" y="108"/>
                  </a:cubicBezTo>
                  <a:cubicBezTo>
                    <a:pt x="55" y="110"/>
                    <a:pt x="58" y="112"/>
                    <a:pt x="61" y="112"/>
                  </a:cubicBezTo>
                  <a:cubicBezTo>
                    <a:pt x="61" y="112"/>
                    <a:pt x="61" y="112"/>
                    <a:pt x="61" y="112"/>
                  </a:cubicBezTo>
                  <a:cubicBezTo>
                    <a:pt x="62" y="112"/>
                    <a:pt x="63" y="112"/>
                    <a:pt x="63" y="111"/>
                  </a:cubicBezTo>
                  <a:cubicBezTo>
                    <a:pt x="67" y="111"/>
                    <a:pt x="70" y="108"/>
                    <a:pt x="72" y="104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4" y="54"/>
                    <a:pt x="95" y="55"/>
                    <a:pt x="97" y="55"/>
                  </a:cubicBezTo>
                  <a:cubicBezTo>
                    <a:pt x="100" y="55"/>
                    <a:pt x="102" y="54"/>
                    <a:pt x="104" y="52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1" y="45"/>
                    <a:pt x="112" y="42"/>
                    <a:pt x="112" y="40"/>
                  </a:cubicBezTo>
                  <a:cubicBezTo>
                    <a:pt x="112" y="37"/>
                    <a:pt x="111" y="35"/>
                    <a:pt x="110" y="33"/>
                  </a:cubicBezTo>
                  <a:lnTo>
                    <a:pt x="80" y="3"/>
                  </a:lnTo>
                  <a:close/>
                  <a:moveTo>
                    <a:pt x="65" y="102"/>
                  </a:moveTo>
                  <a:cubicBezTo>
                    <a:pt x="64" y="103"/>
                    <a:pt x="63" y="104"/>
                    <a:pt x="62" y="104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0" y="104"/>
                    <a:pt x="59" y="104"/>
                    <a:pt x="58" y="103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4"/>
                    <a:pt x="8" y="52"/>
                    <a:pt x="8" y="51"/>
                  </a:cubicBezTo>
                  <a:cubicBezTo>
                    <a:pt x="9" y="50"/>
                    <a:pt x="9" y="49"/>
                    <a:pt x="11" y="48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51" y="44"/>
                    <a:pt x="67" y="39"/>
                    <a:pt x="83" y="56"/>
                  </a:cubicBezTo>
                  <a:lnTo>
                    <a:pt x="65" y="102"/>
                  </a:lnTo>
                  <a:close/>
                  <a:moveTo>
                    <a:pt x="104" y="41"/>
                  </a:moveTo>
                  <a:cubicBezTo>
                    <a:pt x="99" y="46"/>
                    <a:pt x="99" y="46"/>
                    <a:pt x="99" y="46"/>
                  </a:cubicBezTo>
                  <a:cubicBezTo>
                    <a:pt x="98" y="47"/>
                    <a:pt x="97" y="47"/>
                    <a:pt x="96" y="46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3" y="41"/>
                    <a:pt x="61" y="39"/>
                    <a:pt x="50" y="38"/>
                  </a:cubicBezTo>
                  <a:cubicBezTo>
                    <a:pt x="47" y="38"/>
                    <a:pt x="44" y="37"/>
                    <a:pt x="40" y="36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6"/>
                    <a:pt x="66" y="15"/>
                    <a:pt x="66" y="14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3" y="8"/>
                    <a:pt x="74" y="8"/>
                    <a:pt x="75" y="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5" y="39"/>
                    <a:pt x="105" y="40"/>
                    <a:pt x="104" y="41"/>
                  </a:cubicBezTo>
                  <a:close/>
                  <a:moveTo>
                    <a:pt x="104" y="41"/>
                  </a:moveTo>
                  <a:cubicBezTo>
                    <a:pt x="104" y="41"/>
                    <a:pt x="104" y="41"/>
                    <a:pt x="104" y="4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4">
              <a:extLst>
                <a:ext uri="{FF2B5EF4-FFF2-40B4-BE49-F238E27FC236}">
                  <a16:creationId xmlns:a16="http://schemas.microsoft.com/office/drawing/2014/main" id="{254C429C-7FA7-46DC-8699-C7FFA75C77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39213" y="2084388"/>
              <a:ext cx="55563" cy="57150"/>
            </a:xfrm>
            <a:custGeom>
              <a:avLst/>
              <a:gdLst/>
              <a:ahLst/>
              <a:cxnLst>
                <a:cxn ang="0">
                  <a:pos x="10" y="19"/>
                </a:cxn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10" y="19"/>
                </a:cxn>
                <a:cxn ang="0">
                  <a:pos x="10" y="4"/>
                </a:cxn>
                <a:cxn ang="0">
                  <a:pos x="16" y="10"/>
                </a:cxn>
                <a:cxn ang="0">
                  <a:pos x="10" y="16"/>
                </a:cxn>
                <a:cxn ang="0">
                  <a:pos x="4" y="10"/>
                </a:cxn>
                <a:cxn ang="0">
                  <a:pos x="10" y="4"/>
                </a:cxn>
                <a:cxn ang="0">
                  <a:pos x="10" y="4"/>
                </a:cxn>
                <a:cxn ang="0">
                  <a:pos x="10" y="4"/>
                </a:cxn>
              </a:cxnLst>
              <a:rect l="0" t="0" r="r" b="b"/>
              <a:pathLst>
                <a:path w="19" h="19">
                  <a:moveTo>
                    <a:pt x="10" y="19"/>
                  </a:moveTo>
                  <a:cubicBezTo>
                    <a:pt x="15" y="19"/>
                    <a:pt x="19" y="15"/>
                    <a:pt x="19" y="10"/>
                  </a:cubicBezTo>
                  <a:cubicBezTo>
                    <a:pt x="19" y="5"/>
                    <a:pt x="15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5"/>
                    <a:pt x="5" y="19"/>
                    <a:pt x="10" y="19"/>
                  </a:cubicBezTo>
                  <a:close/>
                  <a:moveTo>
                    <a:pt x="10" y="4"/>
                  </a:move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lose/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95">
              <a:extLst>
                <a:ext uri="{FF2B5EF4-FFF2-40B4-BE49-F238E27FC236}">
                  <a16:creationId xmlns:a16="http://schemas.microsoft.com/office/drawing/2014/main" id="{38980031-1435-4B88-9CC8-0E422E590A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85263" y="1906588"/>
              <a:ext cx="55563" cy="5556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9"/>
                </a:cxn>
                <a:cxn ang="0">
                  <a:pos x="10" y="19"/>
                </a:cxn>
                <a:cxn ang="0">
                  <a:pos x="19" y="9"/>
                </a:cxn>
                <a:cxn ang="0">
                  <a:pos x="10" y="0"/>
                </a:cxn>
                <a:cxn ang="0">
                  <a:pos x="10" y="15"/>
                </a:cxn>
                <a:cxn ang="0">
                  <a:pos x="4" y="9"/>
                </a:cxn>
                <a:cxn ang="0">
                  <a:pos x="10" y="4"/>
                </a:cxn>
                <a:cxn ang="0">
                  <a:pos x="16" y="9"/>
                </a:cxn>
                <a:cxn ang="0">
                  <a:pos x="10" y="15"/>
                </a:cxn>
                <a:cxn ang="0">
                  <a:pos x="10" y="15"/>
                </a:cxn>
                <a:cxn ang="0">
                  <a:pos x="10" y="15"/>
                </a:cxn>
              </a:cxnLst>
              <a:rect l="0" t="0" r="r" b="b"/>
              <a:pathLst>
                <a:path w="19" h="19">
                  <a:moveTo>
                    <a:pt x="10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4" y="19"/>
                    <a:pt x="10" y="19"/>
                  </a:cubicBezTo>
                  <a:cubicBezTo>
                    <a:pt x="15" y="19"/>
                    <a:pt x="19" y="15"/>
                    <a:pt x="19" y="9"/>
                  </a:cubicBezTo>
                  <a:cubicBezTo>
                    <a:pt x="19" y="4"/>
                    <a:pt x="15" y="0"/>
                    <a:pt x="10" y="0"/>
                  </a:cubicBezTo>
                  <a:close/>
                  <a:moveTo>
                    <a:pt x="10" y="15"/>
                  </a:moveTo>
                  <a:cubicBezTo>
                    <a:pt x="7" y="15"/>
                    <a:pt x="4" y="13"/>
                    <a:pt x="4" y="9"/>
                  </a:cubicBezTo>
                  <a:cubicBezTo>
                    <a:pt x="4" y="6"/>
                    <a:pt x="7" y="4"/>
                    <a:pt x="10" y="4"/>
                  </a:cubicBezTo>
                  <a:cubicBezTo>
                    <a:pt x="13" y="4"/>
                    <a:pt x="16" y="6"/>
                    <a:pt x="16" y="9"/>
                  </a:cubicBezTo>
                  <a:cubicBezTo>
                    <a:pt x="16" y="13"/>
                    <a:pt x="13" y="15"/>
                    <a:pt x="10" y="15"/>
                  </a:cubicBezTo>
                  <a:close/>
                  <a:moveTo>
                    <a:pt x="10" y="15"/>
                  </a:moveTo>
                  <a:cubicBezTo>
                    <a:pt x="10" y="15"/>
                    <a:pt x="10" y="15"/>
                    <a:pt x="10" y="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6">
              <a:extLst>
                <a:ext uri="{FF2B5EF4-FFF2-40B4-BE49-F238E27FC236}">
                  <a16:creationId xmlns:a16="http://schemas.microsoft.com/office/drawing/2014/main" id="{745813F0-F150-4583-8113-0D359BB8B3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72538" y="2073276"/>
              <a:ext cx="46038" cy="4762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8" y="16"/>
                </a:cxn>
                <a:cxn ang="0">
                  <a:pos x="16" y="8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16" h="16">
                  <a:moveTo>
                    <a:pt x="0" y="8"/>
                  </a:moveTo>
                  <a:cubicBezTo>
                    <a:pt x="0" y="12"/>
                    <a:pt x="4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lose/>
                  <a:moveTo>
                    <a:pt x="8" y="4"/>
                  </a:moveTo>
                  <a:cubicBezTo>
                    <a:pt x="10" y="4"/>
                    <a:pt x="12" y="6"/>
                    <a:pt x="12" y="8"/>
                  </a:cubicBezTo>
                  <a:cubicBezTo>
                    <a:pt x="12" y="10"/>
                    <a:pt x="10" y="12"/>
                    <a:pt x="8" y="12"/>
                  </a:cubicBezTo>
                  <a:cubicBezTo>
                    <a:pt x="6" y="12"/>
                    <a:pt x="4" y="10"/>
                    <a:pt x="4" y="8"/>
                  </a:cubicBezTo>
                  <a:cubicBezTo>
                    <a:pt x="4" y="6"/>
                    <a:pt x="6" y="4"/>
                    <a:pt x="8" y="4"/>
                  </a:cubicBezTo>
                  <a:close/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7">
              <a:extLst>
                <a:ext uri="{FF2B5EF4-FFF2-40B4-BE49-F238E27FC236}">
                  <a16:creationId xmlns:a16="http://schemas.microsoft.com/office/drawing/2014/main" id="{885EFE28-397D-4FFC-A628-AB2160AEDD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18575" y="2152651"/>
              <a:ext cx="20638" cy="23813"/>
            </a:xfrm>
            <a:custGeom>
              <a:avLst/>
              <a:gdLst/>
              <a:ahLst/>
              <a:cxnLst>
                <a:cxn ang="0">
                  <a:pos x="7" y="4"/>
                </a:cxn>
                <a:cxn ang="0">
                  <a:pos x="3" y="8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7" y="4"/>
                </a:cxn>
              </a:cxnLst>
              <a:rect l="0" t="0" r="r" b="b"/>
              <a:pathLst>
                <a:path w="7" h="8">
                  <a:moveTo>
                    <a:pt x="7" y="4"/>
                  </a:moveTo>
                  <a:cubicBezTo>
                    <a:pt x="7" y="6"/>
                    <a:pt x="6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6" y="0"/>
                    <a:pt x="7" y="2"/>
                    <a:pt x="7" y="4"/>
                  </a:cubicBezTo>
                  <a:close/>
                  <a:moveTo>
                    <a:pt x="7" y="4"/>
                  </a:moveTo>
                  <a:cubicBezTo>
                    <a:pt x="7" y="4"/>
                    <a:pt x="7" y="4"/>
                    <a:pt x="7" y="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98">
              <a:extLst>
                <a:ext uri="{FF2B5EF4-FFF2-40B4-BE49-F238E27FC236}">
                  <a16:creationId xmlns:a16="http://schemas.microsoft.com/office/drawing/2014/main" id="{DA8FCD7C-26EA-4750-9D8E-03C779E4FE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96375" y="1985963"/>
              <a:ext cx="23813" cy="20638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8" h="7">
                  <a:moveTo>
                    <a:pt x="8" y="4"/>
                  </a:moveTo>
                  <a:cubicBezTo>
                    <a:pt x="8" y="6"/>
                    <a:pt x="6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lose/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5" name="Freeform 131">
            <a:extLst>
              <a:ext uri="{FF2B5EF4-FFF2-40B4-BE49-F238E27FC236}">
                <a16:creationId xmlns:a16="http://schemas.microsoft.com/office/drawing/2014/main" id="{7FC24E12-E60F-49AD-BD24-67FC630A7F48}"/>
              </a:ext>
            </a:extLst>
          </p:cNvPr>
          <p:cNvSpPr>
            <a:spLocks noEditPoints="1"/>
          </p:cNvSpPr>
          <p:nvPr/>
        </p:nvSpPr>
        <p:spPr bwMode="auto">
          <a:xfrm>
            <a:off x="4312733" y="1471520"/>
            <a:ext cx="518534" cy="486554"/>
          </a:xfrm>
          <a:custGeom>
            <a:avLst/>
            <a:gdLst/>
            <a:ahLst/>
            <a:cxnLst>
              <a:cxn ang="0">
                <a:pos x="111" y="0"/>
              </a:cxn>
              <a:cxn ang="0">
                <a:pos x="12" y="0"/>
              </a:cxn>
              <a:cxn ang="0">
                <a:pos x="0" y="12"/>
              </a:cxn>
              <a:cxn ang="0">
                <a:pos x="0" y="88"/>
              </a:cxn>
              <a:cxn ang="0">
                <a:pos x="12" y="100"/>
              </a:cxn>
              <a:cxn ang="0">
                <a:pos x="50" y="100"/>
              </a:cxn>
              <a:cxn ang="0">
                <a:pos x="50" y="104"/>
              </a:cxn>
              <a:cxn ang="0">
                <a:pos x="26" y="108"/>
              </a:cxn>
              <a:cxn ang="0">
                <a:pos x="23" y="111"/>
              </a:cxn>
              <a:cxn ang="0">
                <a:pos x="27" y="115"/>
              </a:cxn>
              <a:cxn ang="0">
                <a:pos x="96" y="115"/>
              </a:cxn>
              <a:cxn ang="0">
                <a:pos x="100" y="111"/>
              </a:cxn>
              <a:cxn ang="0">
                <a:pos x="97" y="108"/>
              </a:cxn>
              <a:cxn ang="0">
                <a:pos x="73" y="104"/>
              </a:cxn>
              <a:cxn ang="0">
                <a:pos x="73" y="100"/>
              </a:cxn>
              <a:cxn ang="0">
                <a:pos x="111" y="100"/>
              </a:cxn>
              <a:cxn ang="0">
                <a:pos x="123" y="88"/>
              </a:cxn>
              <a:cxn ang="0">
                <a:pos x="123" y="12"/>
              </a:cxn>
              <a:cxn ang="0">
                <a:pos x="111" y="0"/>
              </a:cxn>
              <a:cxn ang="0">
                <a:pos x="115" y="88"/>
              </a:cxn>
              <a:cxn ang="0">
                <a:pos x="111" y="92"/>
              </a:cxn>
              <a:cxn ang="0">
                <a:pos x="12" y="92"/>
              </a:cxn>
              <a:cxn ang="0">
                <a:pos x="8" y="88"/>
              </a:cxn>
              <a:cxn ang="0">
                <a:pos x="8" y="12"/>
              </a:cxn>
              <a:cxn ang="0">
                <a:pos x="12" y="8"/>
              </a:cxn>
              <a:cxn ang="0">
                <a:pos x="111" y="8"/>
              </a:cxn>
              <a:cxn ang="0">
                <a:pos x="115" y="12"/>
              </a:cxn>
              <a:cxn ang="0">
                <a:pos x="115" y="88"/>
              </a:cxn>
              <a:cxn ang="0">
                <a:pos x="104" y="15"/>
              </a:cxn>
              <a:cxn ang="0">
                <a:pos x="19" y="15"/>
              </a:cxn>
              <a:cxn ang="0">
                <a:pos x="16" y="19"/>
              </a:cxn>
              <a:cxn ang="0">
                <a:pos x="16" y="73"/>
              </a:cxn>
              <a:cxn ang="0">
                <a:pos x="19" y="77"/>
              </a:cxn>
              <a:cxn ang="0">
                <a:pos x="104" y="77"/>
              </a:cxn>
              <a:cxn ang="0">
                <a:pos x="108" y="73"/>
              </a:cxn>
              <a:cxn ang="0">
                <a:pos x="108" y="19"/>
              </a:cxn>
              <a:cxn ang="0">
                <a:pos x="104" y="15"/>
              </a:cxn>
              <a:cxn ang="0">
                <a:pos x="104" y="73"/>
              </a:cxn>
              <a:cxn ang="0">
                <a:pos x="19" y="73"/>
              </a:cxn>
              <a:cxn ang="0">
                <a:pos x="19" y="19"/>
              </a:cxn>
              <a:cxn ang="0">
                <a:pos x="104" y="19"/>
              </a:cxn>
              <a:cxn ang="0">
                <a:pos x="104" y="73"/>
              </a:cxn>
              <a:cxn ang="0">
                <a:pos x="104" y="73"/>
              </a:cxn>
              <a:cxn ang="0">
                <a:pos x="104" y="73"/>
              </a:cxn>
            </a:cxnLst>
            <a:rect l="0" t="0" r="r" b="b"/>
            <a:pathLst>
              <a:path w="123" h="115">
                <a:moveTo>
                  <a:pt x="111" y="0"/>
                </a:move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5"/>
                  <a:pt x="0" y="12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95"/>
                  <a:pt x="5" y="100"/>
                  <a:pt x="12" y="100"/>
                </a:cubicBezTo>
                <a:cubicBezTo>
                  <a:pt x="50" y="100"/>
                  <a:pt x="50" y="100"/>
                  <a:pt x="50" y="100"/>
                </a:cubicBezTo>
                <a:cubicBezTo>
                  <a:pt x="50" y="104"/>
                  <a:pt x="50" y="104"/>
                  <a:pt x="50" y="104"/>
                </a:cubicBezTo>
                <a:cubicBezTo>
                  <a:pt x="26" y="108"/>
                  <a:pt x="26" y="108"/>
                  <a:pt x="26" y="108"/>
                </a:cubicBezTo>
                <a:cubicBezTo>
                  <a:pt x="24" y="108"/>
                  <a:pt x="23" y="109"/>
                  <a:pt x="23" y="111"/>
                </a:cubicBezTo>
                <a:cubicBezTo>
                  <a:pt x="23" y="113"/>
                  <a:pt x="25" y="115"/>
                  <a:pt x="27" y="115"/>
                </a:cubicBezTo>
                <a:cubicBezTo>
                  <a:pt x="96" y="115"/>
                  <a:pt x="96" y="115"/>
                  <a:pt x="96" y="115"/>
                </a:cubicBezTo>
                <a:cubicBezTo>
                  <a:pt x="98" y="115"/>
                  <a:pt x="100" y="113"/>
                  <a:pt x="100" y="111"/>
                </a:cubicBezTo>
                <a:cubicBezTo>
                  <a:pt x="100" y="109"/>
                  <a:pt x="99" y="108"/>
                  <a:pt x="97" y="108"/>
                </a:cubicBezTo>
                <a:cubicBezTo>
                  <a:pt x="73" y="104"/>
                  <a:pt x="73" y="104"/>
                  <a:pt x="73" y="104"/>
                </a:cubicBezTo>
                <a:cubicBezTo>
                  <a:pt x="73" y="100"/>
                  <a:pt x="73" y="100"/>
                  <a:pt x="73" y="100"/>
                </a:cubicBezTo>
                <a:cubicBezTo>
                  <a:pt x="111" y="100"/>
                  <a:pt x="111" y="100"/>
                  <a:pt x="111" y="100"/>
                </a:cubicBezTo>
                <a:cubicBezTo>
                  <a:pt x="118" y="100"/>
                  <a:pt x="123" y="95"/>
                  <a:pt x="123" y="88"/>
                </a:cubicBezTo>
                <a:cubicBezTo>
                  <a:pt x="123" y="12"/>
                  <a:pt x="123" y="12"/>
                  <a:pt x="123" y="12"/>
                </a:cubicBezTo>
                <a:cubicBezTo>
                  <a:pt x="123" y="5"/>
                  <a:pt x="118" y="0"/>
                  <a:pt x="111" y="0"/>
                </a:cubicBezTo>
                <a:close/>
                <a:moveTo>
                  <a:pt x="115" y="88"/>
                </a:moveTo>
                <a:cubicBezTo>
                  <a:pt x="115" y="90"/>
                  <a:pt x="114" y="92"/>
                  <a:pt x="111" y="92"/>
                </a:cubicBezTo>
                <a:cubicBezTo>
                  <a:pt x="12" y="92"/>
                  <a:pt x="12" y="92"/>
                  <a:pt x="12" y="92"/>
                </a:cubicBezTo>
                <a:cubicBezTo>
                  <a:pt x="10" y="92"/>
                  <a:pt x="8" y="90"/>
                  <a:pt x="8" y="88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9"/>
                  <a:pt x="10" y="8"/>
                  <a:pt x="12" y="8"/>
                </a:cubicBezTo>
                <a:cubicBezTo>
                  <a:pt x="111" y="8"/>
                  <a:pt x="111" y="8"/>
                  <a:pt x="111" y="8"/>
                </a:cubicBezTo>
                <a:cubicBezTo>
                  <a:pt x="114" y="8"/>
                  <a:pt x="115" y="9"/>
                  <a:pt x="115" y="12"/>
                </a:cubicBezTo>
                <a:lnTo>
                  <a:pt x="115" y="88"/>
                </a:lnTo>
                <a:close/>
                <a:moveTo>
                  <a:pt x="104" y="15"/>
                </a:moveTo>
                <a:cubicBezTo>
                  <a:pt x="19" y="15"/>
                  <a:pt x="19" y="15"/>
                  <a:pt x="19" y="15"/>
                </a:cubicBezTo>
                <a:cubicBezTo>
                  <a:pt x="17" y="15"/>
                  <a:pt x="16" y="17"/>
                  <a:pt x="16" y="19"/>
                </a:cubicBezTo>
                <a:cubicBezTo>
                  <a:pt x="16" y="73"/>
                  <a:pt x="16" y="73"/>
                  <a:pt x="16" y="73"/>
                </a:cubicBezTo>
                <a:cubicBezTo>
                  <a:pt x="16" y="75"/>
                  <a:pt x="17" y="77"/>
                  <a:pt x="19" y="77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6" y="77"/>
                  <a:pt x="108" y="75"/>
                  <a:pt x="108" y="73"/>
                </a:cubicBezTo>
                <a:cubicBezTo>
                  <a:pt x="108" y="19"/>
                  <a:pt x="108" y="19"/>
                  <a:pt x="108" y="19"/>
                </a:cubicBezTo>
                <a:cubicBezTo>
                  <a:pt x="108" y="17"/>
                  <a:pt x="106" y="15"/>
                  <a:pt x="104" y="15"/>
                </a:cubicBezTo>
                <a:close/>
                <a:moveTo>
                  <a:pt x="104" y="73"/>
                </a:moveTo>
                <a:cubicBezTo>
                  <a:pt x="19" y="73"/>
                  <a:pt x="19" y="73"/>
                  <a:pt x="19" y="73"/>
                </a:cubicBezTo>
                <a:cubicBezTo>
                  <a:pt x="19" y="19"/>
                  <a:pt x="19" y="19"/>
                  <a:pt x="19" y="19"/>
                </a:cubicBezTo>
                <a:cubicBezTo>
                  <a:pt x="104" y="19"/>
                  <a:pt x="104" y="19"/>
                  <a:pt x="104" y="19"/>
                </a:cubicBezTo>
                <a:lnTo>
                  <a:pt x="104" y="73"/>
                </a:lnTo>
                <a:close/>
                <a:moveTo>
                  <a:pt x="104" y="73"/>
                </a:moveTo>
                <a:cubicBezTo>
                  <a:pt x="104" y="73"/>
                  <a:pt x="104" y="73"/>
                  <a:pt x="104" y="73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144">
            <a:extLst>
              <a:ext uri="{FF2B5EF4-FFF2-40B4-BE49-F238E27FC236}">
                <a16:creationId xmlns:a16="http://schemas.microsoft.com/office/drawing/2014/main" id="{2C0F5626-C87E-4749-A922-41B8D625DB19}"/>
              </a:ext>
            </a:extLst>
          </p:cNvPr>
          <p:cNvSpPr>
            <a:spLocks noEditPoints="1"/>
          </p:cNvSpPr>
          <p:nvPr/>
        </p:nvSpPr>
        <p:spPr bwMode="auto">
          <a:xfrm>
            <a:off x="3382687" y="3037559"/>
            <a:ext cx="529954" cy="518534"/>
          </a:xfrm>
          <a:custGeom>
            <a:avLst/>
            <a:gdLst/>
            <a:ahLst/>
            <a:cxnLst>
              <a:cxn ang="0">
                <a:pos x="90" y="0"/>
              </a:cxn>
              <a:cxn ang="0">
                <a:pos x="53" y="26"/>
              </a:cxn>
              <a:cxn ang="0">
                <a:pos x="53" y="26"/>
              </a:cxn>
              <a:cxn ang="0">
                <a:pos x="13" y="66"/>
              </a:cxn>
              <a:cxn ang="0">
                <a:pos x="0" y="106"/>
              </a:cxn>
              <a:cxn ang="0">
                <a:pos x="13" y="123"/>
              </a:cxn>
              <a:cxn ang="0">
                <a:pos x="50" y="114"/>
              </a:cxn>
              <a:cxn ang="0">
                <a:pos x="115" y="51"/>
              </a:cxn>
              <a:cxn ang="0">
                <a:pos x="61" y="91"/>
              </a:cxn>
              <a:cxn ang="0">
                <a:pos x="95" y="45"/>
              </a:cxn>
              <a:cxn ang="0">
                <a:pos x="91" y="64"/>
              </a:cxn>
              <a:cxn ang="0">
                <a:pos x="61" y="94"/>
              </a:cxn>
              <a:cxn ang="0">
                <a:pos x="56" y="78"/>
              </a:cxn>
              <a:cxn ang="0">
                <a:pos x="43" y="66"/>
              </a:cxn>
              <a:cxn ang="0">
                <a:pos x="88" y="34"/>
              </a:cxn>
              <a:cxn ang="0">
                <a:pos x="56" y="78"/>
              </a:cxn>
              <a:cxn ang="0">
                <a:pos x="29" y="61"/>
              </a:cxn>
              <a:cxn ang="0">
                <a:pos x="76" y="28"/>
              </a:cxn>
              <a:cxn ang="0">
                <a:pos x="16" y="115"/>
              </a:cxn>
              <a:cxn ang="0">
                <a:pos x="7" y="110"/>
              </a:cxn>
              <a:cxn ang="0">
                <a:pos x="12" y="93"/>
              </a:cxn>
              <a:cxn ang="0">
                <a:pos x="30" y="111"/>
              </a:cxn>
              <a:cxn ang="0">
                <a:pos x="34" y="110"/>
              </a:cxn>
              <a:cxn ang="0">
                <a:pos x="13" y="89"/>
              </a:cxn>
              <a:cxn ang="0">
                <a:pos x="18" y="72"/>
              </a:cxn>
              <a:cxn ang="0">
                <a:pos x="49" y="106"/>
              </a:cxn>
              <a:cxn ang="0">
                <a:pos x="34" y="110"/>
              </a:cxn>
              <a:cxn ang="0">
                <a:pos x="103" y="52"/>
              </a:cxn>
              <a:cxn ang="0">
                <a:pos x="93" y="29"/>
              </a:cxn>
              <a:cxn ang="0">
                <a:pos x="77" y="13"/>
              </a:cxn>
              <a:cxn ang="0">
                <a:pos x="107" y="16"/>
              </a:cxn>
              <a:cxn ang="0">
                <a:pos x="110" y="45"/>
              </a:cxn>
              <a:cxn ang="0">
                <a:pos x="110" y="45"/>
              </a:cxn>
            </a:cxnLst>
            <a:rect l="0" t="0" r="r" b="b"/>
            <a:pathLst>
              <a:path w="126" h="123">
                <a:moveTo>
                  <a:pt x="112" y="10"/>
                </a:moveTo>
                <a:cubicBezTo>
                  <a:pt x="106" y="4"/>
                  <a:pt x="98" y="0"/>
                  <a:pt x="90" y="0"/>
                </a:cubicBezTo>
                <a:cubicBezTo>
                  <a:pt x="83" y="0"/>
                  <a:pt x="76" y="3"/>
                  <a:pt x="72" y="7"/>
                </a:cubicBezTo>
                <a:cubicBezTo>
                  <a:pt x="53" y="26"/>
                  <a:pt x="53" y="26"/>
                  <a:pt x="53" y="26"/>
                </a:cubicBezTo>
                <a:cubicBezTo>
                  <a:pt x="53" y="26"/>
                  <a:pt x="53" y="26"/>
                  <a:pt x="53" y="26"/>
                </a:cubicBezTo>
                <a:cubicBezTo>
                  <a:pt x="53" y="26"/>
                  <a:pt x="53" y="26"/>
                  <a:pt x="53" y="26"/>
                </a:cubicBezTo>
                <a:cubicBezTo>
                  <a:pt x="53" y="26"/>
                  <a:pt x="53" y="26"/>
                  <a:pt x="53" y="26"/>
                </a:cubicBezTo>
                <a:cubicBezTo>
                  <a:pt x="13" y="66"/>
                  <a:pt x="13" y="66"/>
                  <a:pt x="13" y="66"/>
                </a:cubicBezTo>
                <a:cubicBezTo>
                  <a:pt x="11" y="68"/>
                  <a:pt x="10" y="70"/>
                  <a:pt x="9" y="73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6"/>
                  <a:pt x="0" y="108"/>
                  <a:pt x="0" y="110"/>
                </a:cubicBezTo>
                <a:cubicBezTo>
                  <a:pt x="0" y="117"/>
                  <a:pt x="6" y="123"/>
                  <a:pt x="13" y="123"/>
                </a:cubicBezTo>
                <a:cubicBezTo>
                  <a:pt x="15" y="123"/>
                  <a:pt x="17" y="122"/>
                  <a:pt x="18" y="122"/>
                </a:cubicBezTo>
                <a:cubicBezTo>
                  <a:pt x="50" y="114"/>
                  <a:pt x="50" y="114"/>
                  <a:pt x="50" y="114"/>
                </a:cubicBezTo>
                <a:cubicBezTo>
                  <a:pt x="52" y="113"/>
                  <a:pt x="55" y="112"/>
                  <a:pt x="57" y="110"/>
                </a:cubicBezTo>
                <a:cubicBezTo>
                  <a:pt x="115" y="51"/>
                  <a:pt x="115" y="51"/>
                  <a:pt x="115" y="51"/>
                </a:cubicBezTo>
                <a:cubicBezTo>
                  <a:pt x="126" y="40"/>
                  <a:pt x="125" y="22"/>
                  <a:pt x="112" y="10"/>
                </a:cubicBezTo>
                <a:close/>
                <a:moveTo>
                  <a:pt x="61" y="91"/>
                </a:moveTo>
                <a:cubicBezTo>
                  <a:pt x="61" y="88"/>
                  <a:pt x="60" y="85"/>
                  <a:pt x="58" y="81"/>
                </a:cubicBezTo>
                <a:cubicBezTo>
                  <a:pt x="95" y="45"/>
                  <a:pt x="95" y="45"/>
                  <a:pt x="95" y="45"/>
                </a:cubicBezTo>
                <a:cubicBezTo>
                  <a:pt x="97" y="52"/>
                  <a:pt x="96" y="59"/>
                  <a:pt x="91" y="64"/>
                </a:cubicBezTo>
                <a:cubicBezTo>
                  <a:pt x="91" y="64"/>
                  <a:pt x="91" y="64"/>
                  <a:pt x="91" y="64"/>
                </a:cubicBezTo>
                <a:cubicBezTo>
                  <a:pt x="91" y="64"/>
                  <a:pt x="91" y="64"/>
                  <a:pt x="91" y="64"/>
                </a:cubicBezTo>
                <a:cubicBezTo>
                  <a:pt x="61" y="94"/>
                  <a:pt x="61" y="94"/>
                  <a:pt x="61" y="94"/>
                </a:cubicBezTo>
                <a:cubicBezTo>
                  <a:pt x="61" y="93"/>
                  <a:pt x="61" y="92"/>
                  <a:pt x="61" y="91"/>
                </a:cubicBezTo>
                <a:close/>
                <a:moveTo>
                  <a:pt x="56" y="78"/>
                </a:moveTo>
                <a:cubicBezTo>
                  <a:pt x="55" y="76"/>
                  <a:pt x="53" y="73"/>
                  <a:pt x="51" y="71"/>
                </a:cubicBezTo>
                <a:cubicBezTo>
                  <a:pt x="49" y="69"/>
                  <a:pt x="46" y="67"/>
                  <a:pt x="43" y="66"/>
                </a:cubicBezTo>
                <a:cubicBezTo>
                  <a:pt x="80" y="29"/>
                  <a:pt x="80" y="29"/>
                  <a:pt x="80" y="29"/>
                </a:cubicBezTo>
                <a:cubicBezTo>
                  <a:pt x="83" y="30"/>
                  <a:pt x="86" y="32"/>
                  <a:pt x="88" y="34"/>
                </a:cubicBezTo>
                <a:cubicBezTo>
                  <a:pt x="90" y="37"/>
                  <a:pt x="92" y="39"/>
                  <a:pt x="93" y="41"/>
                </a:cubicBezTo>
                <a:lnTo>
                  <a:pt x="56" y="78"/>
                </a:lnTo>
                <a:close/>
                <a:moveTo>
                  <a:pt x="40" y="64"/>
                </a:moveTo>
                <a:cubicBezTo>
                  <a:pt x="36" y="62"/>
                  <a:pt x="33" y="61"/>
                  <a:pt x="29" y="61"/>
                </a:cubicBezTo>
                <a:cubicBezTo>
                  <a:pt x="58" y="32"/>
                  <a:pt x="58" y="32"/>
                  <a:pt x="58" y="32"/>
                </a:cubicBezTo>
                <a:cubicBezTo>
                  <a:pt x="63" y="27"/>
                  <a:pt x="69" y="26"/>
                  <a:pt x="76" y="28"/>
                </a:cubicBezTo>
                <a:lnTo>
                  <a:pt x="40" y="64"/>
                </a:lnTo>
                <a:close/>
                <a:moveTo>
                  <a:pt x="16" y="115"/>
                </a:moveTo>
                <a:cubicBezTo>
                  <a:pt x="15" y="115"/>
                  <a:pt x="14" y="115"/>
                  <a:pt x="13" y="115"/>
                </a:cubicBezTo>
                <a:cubicBezTo>
                  <a:pt x="10" y="115"/>
                  <a:pt x="7" y="113"/>
                  <a:pt x="7" y="110"/>
                </a:cubicBezTo>
                <a:cubicBezTo>
                  <a:pt x="7" y="109"/>
                  <a:pt x="8" y="108"/>
                  <a:pt x="8" y="107"/>
                </a:cubicBezTo>
                <a:cubicBezTo>
                  <a:pt x="12" y="93"/>
                  <a:pt x="12" y="93"/>
                  <a:pt x="12" y="93"/>
                </a:cubicBezTo>
                <a:cubicBezTo>
                  <a:pt x="16" y="93"/>
                  <a:pt x="21" y="94"/>
                  <a:pt x="25" y="98"/>
                </a:cubicBezTo>
                <a:cubicBezTo>
                  <a:pt x="28" y="102"/>
                  <a:pt x="30" y="107"/>
                  <a:pt x="30" y="111"/>
                </a:cubicBezTo>
                <a:lnTo>
                  <a:pt x="16" y="115"/>
                </a:lnTo>
                <a:close/>
                <a:moveTo>
                  <a:pt x="34" y="110"/>
                </a:moveTo>
                <a:cubicBezTo>
                  <a:pt x="34" y="105"/>
                  <a:pt x="31" y="100"/>
                  <a:pt x="27" y="95"/>
                </a:cubicBezTo>
                <a:cubicBezTo>
                  <a:pt x="23" y="91"/>
                  <a:pt x="18" y="89"/>
                  <a:pt x="13" y="89"/>
                </a:cubicBezTo>
                <a:cubicBezTo>
                  <a:pt x="17" y="75"/>
                  <a:pt x="17" y="75"/>
                  <a:pt x="17" y="75"/>
                </a:cubicBezTo>
                <a:cubicBezTo>
                  <a:pt x="17" y="74"/>
                  <a:pt x="17" y="73"/>
                  <a:pt x="18" y="72"/>
                </a:cubicBezTo>
                <a:cubicBezTo>
                  <a:pt x="26" y="67"/>
                  <a:pt x="38" y="68"/>
                  <a:pt x="46" y="77"/>
                </a:cubicBezTo>
                <a:cubicBezTo>
                  <a:pt x="55" y="85"/>
                  <a:pt x="56" y="98"/>
                  <a:pt x="49" y="106"/>
                </a:cubicBezTo>
                <a:cubicBezTo>
                  <a:pt x="49" y="106"/>
                  <a:pt x="48" y="106"/>
                  <a:pt x="48" y="106"/>
                </a:cubicBezTo>
                <a:lnTo>
                  <a:pt x="34" y="110"/>
                </a:lnTo>
                <a:close/>
                <a:moveTo>
                  <a:pt x="110" y="45"/>
                </a:moveTo>
                <a:cubicBezTo>
                  <a:pt x="103" y="52"/>
                  <a:pt x="103" y="52"/>
                  <a:pt x="103" y="52"/>
                </a:cubicBezTo>
                <a:cubicBezTo>
                  <a:pt x="103" y="51"/>
                  <a:pt x="103" y="50"/>
                  <a:pt x="103" y="49"/>
                </a:cubicBezTo>
                <a:cubicBezTo>
                  <a:pt x="103" y="42"/>
                  <a:pt x="99" y="35"/>
                  <a:pt x="93" y="29"/>
                </a:cubicBezTo>
                <a:cubicBezTo>
                  <a:pt x="87" y="23"/>
                  <a:pt x="79" y="19"/>
                  <a:pt x="71" y="19"/>
                </a:cubicBezTo>
                <a:cubicBezTo>
                  <a:pt x="77" y="13"/>
                  <a:pt x="77" y="13"/>
                  <a:pt x="77" y="13"/>
                </a:cubicBezTo>
                <a:cubicBezTo>
                  <a:pt x="80" y="10"/>
                  <a:pt x="85" y="8"/>
                  <a:pt x="90" y="8"/>
                </a:cubicBezTo>
                <a:cubicBezTo>
                  <a:pt x="96" y="8"/>
                  <a:pt x="102" y="11"/>
                  <a:pt x="107" y="16"/>
                </a:cubicBezTo>
                <a:cubicBezTo>
                  <a:pt x="112" y="20"/>
                  <a:pt x="114" y="26"/>
                  <a:pt x="115" y="32"/>
                </a:cubicBezTo>
                <a:cubicBezTo>
                  <a:pt x="115" y="37"/>
                  <a:pt x="113" y="42"/>
                  <a:pt x="110" y="45"/>
                </a:cubicBezTo>
                <a:close/>
                <a:moveTo>
                  <a:pt x="110" y="45"/>
                </a:moveTo>
                <a:cubicBezTo>
                  <a:pt x="110" y="45"/>
                  <a:pt x="110" y="45"/>
                  <a:pt x="110" y="45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C1F22717-A510-4E5E-8A18-E97371C9D099}"/>
              </a:ext>
            </a:extLst>
          </p:cNvPr>
          <p:cNvSpPr txBox="1">
            <a:spLocks/>
          </p:cNvSpPr>
          <p:nvPr/>
        </p:nvSpPr>
        <p:spPr>
          <a:xfrm>
            <a:off x="1291905" y="4492"/>
            <a:ext cx="7835927" cy="545855"/>
          </a:xfrm>
          <a:prstGeom prst="rect">
            <a:avLst/>
          </a:prstGeom>
        </p:spPr>
        <p:txBody>
          <a:bodyPr/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400" dirty="0"/>
              <a:t>Driving a holistic and user-centric solution requires us to understand the business problem, expected solution and the data</a:t>
            </a:r>
            <a:br>
              <a:rPr lang="en-US" sz="1400" dirty="0"/>
            </a:br>
            <a:endParaRPr lang="en-US" sz="1400" dirty="0"/>
          </a:p>
        </p:txBody>
      </p:sp>
      <p:pic>
        <p:nvPicPr>
          <p:cNvPr id="39" name="Graphic 38" descr="Help">
            <a:extLst>
              <a:ext uri="{FF2B5EF4-FFF2-40B4-BE49-F238E27FC236}">
                <a16:creationId xmlns:a16="http://schemas.microsoft.com/office/drawing/2014/main" id="{3C2CF894-2333-4862-88B1-AE59113027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33850" y="225222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207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D62109-0513-4ED5-99C1-756EFD743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4767264"/>
            <a:ext cx="2895600" cy="273844"/>
          </a:xfrm>
        </p:spPr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Freeform 29">
            <a:extLst>
              <a:ext uri="{FF2B5EF4-FFF2-40B4-BE49-F238E27FC236}">
                <a16:creationId xmlns:a16="http://schemas.microsoft.com/office/drawing/2014/main" id="{3E7DD296-1357-401D-A0FE-0E98FA058BE2}"/>
              </a:ext>
            </a:extLst>
          </p:cNvPr>
          <p:cNvSpPr/>
          <p:nvPr/>
        </p:nvSpPr>
        <p:spPr>
          <a:xfrm>
            <a:off x="827881" y="1189390"/>
            <a:ext cx="1602325" cy="687726"/>
          </a:xfrm>
          <a:custGeom>
            <a:avLst/>
            <a:gdLst>
              <a:gd name="connsiteX0" fmla="*/ 0 w 5210648"/>
              <a:gd name="connsiteY0" fmla="*/ 0 h 916968"/>
              <a:gd name="connsiteX1" fmla="*/ 5210648 w 5210648"/>
              <a:gd name="connsiteY1" fmla="*/ 0 h 916968"/>
              <a:gd name="connsiteX2" fmla="*/ 5210648 w 5210648"/>
              <a:gd name="connsiteY2" fmla="*/ 916968 h 916968"/>
              <a:gd name="connsiteX3" fmla="*/ 0 w 5210648"/>
              <a:gd name="connsiteY3" fmla="*/ 916968 h 916968"/>
              <a:gd name="connsiteX4" fmla="*/ 0 w 5210648"/>
              <a:gd name="connsiteY4" fmla="*/ 0 h 916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10648" h="916968">
                <a:moveTo>
                  <a:pt x="0" y="0"/>
                </a:moveTo>
                <a:lnTo>
                  <a:pt x="5210648" y="0"/>
                </a:lnTo>
                <a:lnTo>
                  <a:pt x="5210648" y="916968"/>
                </a:lnTo>
                <a:lnTo>
                  <a:pt x="0" y="916968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130" tIns="34290" rIns="34290" bIns="34290" numCol="1" spcCol="1270" anchor="ctr" anchorCtr="0">
            <a:noAutofit/>
          </a:bodyPr>
          <a:lstStyle/>
          <a:p>
            <a:pPr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b="1">
                <a:solidFill>
                  <a:srgbClr val="C00000"/>
                </a:solidFill>
                <a:latin typeface="Mars Centra"/>
                <a:ea typeface="Mars Centra" pitchFamily="2" charset="0"/>
              </a:rPr>
              <a:t>Executive</a:t>
            </a:r>
          </a:p>
        </p:txBody>
      </p:sp>
      <p:sp>
        <p:nvSpPr>
          <p:cNvPr id="7" name="Freeform 38">
            <a:extLst>
              <a:ext uri="{FF2B5EF4-FFF2-40B4-BE49-F238E27FC236}">
                <a16:creationId xmlns:a16="http://schemas.microsoft.com/office/drawing/2014/main" id="{1E7FD4A0-6587-44A4-9B32-87BCD40C5A33}"/>
              </a:ext>
            </a:extLst>
          </p:cNvPr>
          <p:cNvSpPr/>
          <p:nvPr/>
        </p:nvSpPr>
        <p:spPr>
          <a:xfrm>
            <a:off x="841550" y="2038272"/>
            <a:ext cx="1306089" cy="687726"/>
          </a:xfrm>
          <a:custGeom>
            <a:avLst/>
            <a:gdLst>
              <a:gd name="connsiteX0" fmla="*/ 0 w 4815668"/>
              <a:gd name="connsiteY0" fmla="*/ 0 h 916968"/>
              <a:gd name="connsiteX1" fmla="*/ 4815668 w 4815668"/>
              <a:gd name="connsiteY1" fmla="*/ 0 h 916968"/>
              <a:gd name="connsiteX2" fmla="*/ 4815668 w 4815668"/>
              <a:gd name="connsiteY2" fmla="*/ 916968 h 916968"/>
              <a:gd name="connsiteX3" fmla="*/ 0 w 4815668"/>
              <a:gd name="connsiteY3" fmla="*/ 916968 h 916968"/>
              <a:gd name="connsiteX4" fmla="*/ 0 w 4815668"/>
              <a:gd name="connsiteY4" fmla="*/ 0 h 916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15668" h="916968">
                <a:moveTo>
                  <a:pt x="0" y="0"/>
                </a:moveTo>
                <a:lnTo>
                  <a:pt x="4815668" y="0"/>
                </a:lnTo>
                <a:lnTo>
                  <a:pt x="4815668" y="916968"/>
                </a:lnTo>
                <a:lnTo>
                  <a:pt x="0" y="916968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130" tIns="34290" rIns="34290" bIns="34290" numCol="1" spcCol="1270" anchor="ctr" anchorCtr="0">
            <a:noAutofit/>
          </a:bodyPr>
          <a:lstStyle/>
          <a:p>
            <a:pPr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b="1">
                <a:solidFill>
                  <a:srgbClr val="C00000"/>
                </a:solidFill>
                <a:latin typeface="Mars Centra"/>
              </a:rPr>
              <a:t>Account</a:t>
            </a:r>
          </a:p>
        </p:txBody>
      </p:sp>
      <p:sp>
        <p:nvSpPr>
          <p:cNvPr id="8" name="Freeform 40">
            <a:extLst>
              <a:ext uri="{FF2B5EF4-FFF2-40B4-BE49-F238E27FC236}">
                <a16:creationId xmlns:a16="http://schemas.microsoft.com/office/drawing/2014/main" id="{5BDC9BA1-9D26-4623-A597-A417E9404DAE}"/>
              </a:ext>
            </a:extLst>
          </p:cNvPr>
          <p:cNvSpPr/>
          <p:nvPr/>
        </p:nvSpPr>
        <p:spPr>
          <a:xfrm>
            <a:off x="827881" y="2898932"/>
            <a:ext cx="1306088" cy="687726"/>
          </a:xfrm>
          <a:custGeom>
            <a:avLst/>
            <a:gdLst>
              <a:gd name="connsiteX0" fmla="*/ 0 w 4815668"/>
              <a:gd name="connsiteY0" fmla="*/ 0 h 916968"/>
              <a:gd name="connsiteX1" fmla="*/ 4815668 w 4815668"/>
              <a:gd name="connsiteY1" fmla="*/ 0 h 916968"/>
              <a:gd name="connsiteX2" fmla="*/ 4815668 w 4815668"/>
              <a:gd name="connsiteY2" fmla="*/ 916968 h 916968"/>
              <a:gd name="connsiteX3" fmla="*/ 0 w 4815668"/>
              <a:gd name="connsiteY3" fmla="*/ 916968 h 916968"/>
              <a:gd name="connsiteX4" fmla="*/ 0 w 4815668"/>
              <a:gd name="connsiteY4" fmla="*/ 0 h 916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15668" h="916968">
                <a:moveTo>
                  <a:pt x="0" y="0"/>
                </a:moveTo>
                <a:lnTo>
                  <a:pt x="4815668" y="0"/>
                </a:lnTo>
                <a:lnTo>
                  <a:pt x="4815668" y="916968"/>
                </a:lnTo>
                <a:lnTo>
                  <a:pt x="0" y="916968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130" tIns="34290" rIns="34290" bIns="34290" numCol="1" spcCol="1270" anchor="ctr" anchorCtr="0">
            <a:noAutofit/>
          </a:bodyPr>
          <a:lstStyle/>
          <a:p>
            <a:pPr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b="1">
                <a:solidFill>
                  <a:srgbClr val="C00000"/>
                </a:solidFill>
                <a:latin typeface="Mars Centra"/>
              </a:rPr>
              <a:t>SL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26A5C2-0BCE-4697-B080-E7AEED9ED097}"/>
              </a:ext>
            </a:extLst>
          </p:cNvPr>
          <p:cNvSpPr/>
          <p:nvPr/>
        </p:nvSpPr>
        <p:spPr bwMode="auto">
          <a:xfrm>
            <a:off x="1194853" y="3962418"/>
            <a:ext cx="1192911" cy="38688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00075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b="1">
                <a:solidFill>
                  <a:srgbClr val="C00000"/>
                </a:solidFill>
                <a:latin typeface="Mars Centra"/>
                <a:ea typeface="Mars Centra" pitchFamily="2" charset="0"/>
              </a:rPr>
              <a:t>Product Brand/ Pack Typ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D5B6A48-CE0C-49F5-8DA1-642A93480905}"/>
              </a:ext>
            </a:extLst>
          </p:cNvPr>
          <p:cNvSpPr/>
          <p:nvPr/>
        </p:nvSpPr>
        <p:spPr>
          <a:xfrm>
            <a:off x="397685" y="1178023"/>
            <a:ext cx="710461" cy="710461"/>
          </a:xfrm>
          <a:prstGeom prst="ellipse">
            <a:avLst/>
          </a:prstGeom>
          <a:solidFill>
            <a:schemeClr val="bg1"/>
          </a:solidFill>
          <a:ln w="38100">
            <a:solidFill>
              <a:srgbClr val="7F7F7F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D2E00FB-E79C-4D3A-99CA-FA05E205F0C0}"/>
              </a:ext>
            </a:extLst>
          </p:cNvPr>
          <p:cNvSpPr/>
          <p:nvPr/>
        </p:nvSpPr>
        <p:spPr>
          <a:xfrm>
            <a:off x="397685" y="2032794"/>
            <a:ext cx="710461" cy="710461"/>
          </a:xfrm>
          <a:prstGeom prst="ellipse">
            <a:avLst/>
          </a:prstGeom>
          <a:solidFill>
            <a:schemeClr val="bg1"/>
          </a:solidFill>
          <a:ln w="38100">
            <a:solidFill>
              <a:srgbClr val="7F7F7F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8EEF158-EFF8-4571-A3A3-408A0B4A991C}"/>
              </a:ext>
            </a:extLst>
          </p:cNvPr>
          <p:cNvSpPr/>
          <p:nvPr/>
        </p:nvSpPr>
        <p:spPr>
          <a:xfrm>
            <a:off x="397685" y="2887565"/>
            <a:ext cx="710461" cy="710461"/>
          </a:xfrm>
          <a:prstGeom prst="ellipse">
            <a:avLst/>
          </a:prstGeom>
          <a:solidFill>
            <a:schemeClr val="bg1"/>
          </a:solidFill>
          <a:ln w="38100">
            <a:solidFill>
              <a:srgbClr val="7F7F7F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96D746B-9DDF-485B-901F-74D70E15F37E}"/>
              </a:ext>
            </a:extLst>
          </p:cNvPr>
          <p:cNvSpPr/>
          <p:nvPr/>
        </p:nvSpPr>
        <p:spPr>
          <a:xfrm>
            <a:off x="429978" y="3742336"/>
            <a:ext cx="645873" cy="645873"/>
          </a:xfrm>
          <a:prstGeom prst="ellipse">
            <a:avLst/>
          </a:prstGeom>
          <a:solidFill>
            <a:schemeClr val="bg1"/>
          </a:solidFill>
          <a:ln w="38100">
            <a:solidFill>
              <a:srgbClr val="7F7F7F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145B22C-815F-4872-A901-712E77A2EF3F}"/>
              </a:ext>
            </a:extLst>
          </p:cNvPr>
          <p:cNvCxnSpPr>
            <a:cxnSpLocks/>
          </p:cNvCxnSpPr>
          <p:nvPr/>
        </p:nvCxnSpPr>
        <p:spPr>
          <a:xfrm>
            <a:off x="5873572" y="1055872"/>
            <a:ext cx="13562" cy="3374219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4A69754-D5A6-4EE4-AD2A-65378036220E}"/>
              </a:ext>
            </a:extLst>
          </p:cNvPr>
          <p:cNvSpPr txBox="1"/>
          <p:nvPr/>
        </p:nvSpPr>
        <p:spPr>
          <a:xfrm>
            <a:off x="3879649" y="646139"/>
            <a:ext cx="1082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US" sz="1200" b="1">
                <a:solidFill>
                  <a:srgbClr val="C00000"/>
                </a:solidFill>
                <a:latin typeface="Calibri Light"/>
              </a:rPr>
              <a:t>Business Questions</a:t>
            </a:r>
          </a:p>
        </p:txBody>
      </p:sp>
      <p:sp>
        <p:nvSpPr>
          <p:cNvPr id="26" name="Rounded Rectangle 24">
            <a:extLst>
              <a:ext uri="{FF2B5EF4-FFF2-40B4-BE49-F238E27FC236}">
                <a16:creationId xmlns:a16="http://schemas.microsoft.com/office/drawing/2014/main" id="{D799DF25-6D28-43C0-A987-4CF8AD1802DE}"/>
              </a:ext>
            </a:extLst>
          </p:cNvPr>
          <p:cNvSpPr/>
          <p:nvPr/>
        </p:nvSpPr>
        <p:spPr bwMode="auto">
          <a:xfrm>
            <a:off x="2914232" y="1199361"/>
            <a:ext cx="2911333" cy="950444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 dirty="0">
                <a:latin typeface="Segoe UI" panose="020B0502040204020203" pitchFamily="34" charset="0"/>
                <a:cs typeface="Segoe UI" panose="020B0502040204020203" pitchFamily="34" charset="0"/>
              </a:rPr>
              <a:t>How are my GSV, NSV and TE looking across the entire period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 dirty="0">
                <a:latin typeface="Segoe UI" panose="020B0502040204020203" pitchFamily="34" charset="0"/>
                <a:cs typeface="Segoe UI" panose="020B0502040204020203" pitchFamily="34" charset="0"/>
              </a:rPr>
              <a:t>How are my shipped and open orders tracking on a day to day basis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 dirty="0">
                <a:latin typeface="Segoe UI" panose="020B0502040204020203" pitchFamily="34" charset="0"/>
                <a:cs typeface="Segoe UI" panose="020B0502040204020203" pitchFamily="34" charset="0"/>
              </a:rPr>
              <a:t>Which accounts/customers are the highest value and growth accounts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 dirty="0">
                <a:latin typeface="Segoe UI" panose="020B0502040204020203" pitchFamily="34" charset="0"/>
                <a:cs typeface="Segoe UI" panose="020B0502040204020203" pitchFamily="34" charset="0"/>
              </a:rPr>
              <a:t>How many orders have I received for the next period?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FCDDC9B-B7BB-4647-B4E7-F1C08DA8158C}"/>
              </a:ext>
            </a:extLst>
          </p:cNvPr>
          <p:cNvSpPr txBox="1"/>
          <p:nvPr/>
        </p:nvSpPr>
        <p:spPr>
          <a:xfrm>
            <a:off x="7147810" y="658901"/>
            <a:ext cx="10821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US" sz="1200" b="1">
                <a:solidFill>
                  <a:srgbClr val="C00000"/>
                </a:solidFill>
                <a:latin typeface="Calibri Light"/>
              </a:rPr>
              <a:t>Metric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D7ADB34-9CB3-4C5F-AAAB-2DF161BD29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948" y="641320"/>
            <a:ext cx="403087" cy="40308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EC7B5BE-00CC-4488-9963-530BE33BA0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485" y="614812"/>
            <a:ext cx="418008" cy="418008"/>
          </a:xfrm>
          <a:prstGeom prst="rect">
            <a:avLst/>
          </a:prstGeom>
        </p:spPr>
      </p:pic>
      <p:sp>
        <p:nvSpPr>
          <p:cNvPr id="34" name="Rounded Rectangle 24">
            <a:extLst>
              <a:ext uri="{FF2B5EF4-FFF2-40B4-BE49-F238E27FC236}">
                <a16:creationId xmlns:a16="http://schemas.microsoft.com/office/drawing/2014/main" id="{C7E3F674-48FB-4C8F-80E3-3942196AE08F}"/>
              </a:ext>
            </a:extLst>
          </p:cNvPr>
          <p:cNvSpPr/>
          <p:nvPr/>
        </p:nvSpPr>
        <p:spPr bwMode="auto">
          <a:xfrm>
            <a:off x="2914232" y="2243938"/>
            <a:ext cx="2800666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 dirty="0">
                <a:latin typeface="Segoe UI" panose="020B0502040204020203" pitchFamily="34" charset="0"/>
                <a:cs typeface="Segoe UI" panose="020B0502040204020203" pitchFamily="34" charset="0"/>
              </a:rPr>
              <a:t>How many open, shipped and held orders am I tracking by account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 dirty="0">
                <a:latin typeface="Segoe UI" panose="020B0502040204020203" pitchFamily="34" charset="0"/>
                <a:cs typeface="Segoe UI" panose="020B0502040204020203" pitchFamily="34" charset="0"/>
              </a:rPr>
              <a:t>How are these accounts performing compared to planned or PY targets?</a:t>
            </a:r>
            <a:endParaRPr lang="en-US" sz="800" kern="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Rounded Rectangle 24">
            <a:extLst>
              <a:ext uri="{FF2B5EF4-FFF2-40B4-BE49-F238E27FC236}">
                <a16:creationId xmlns:a16="http://schemas.microsoft.com/office/drawing/2014/main" id="{1FAEE1B5-53FB-4D88-99F7-E7FB54055A47}"/>
              </a:ext>
            </a:extLst>
          </p:cNvPr>
          <p:cNvSpPr/>
          <p:nvPr/>
        </p:nvSpPr>
        <p:spPr bwMode="auto">
          <a:xfrm>
            <a:off x="2914233" y="3022477"/>
            <a:ext cx="2800666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How are SLT’s performing with respect to the planned or LY targets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Who are the top/bottom 3 SLTs from last period to this period?</a:t>
            </a:r>
          </a:p>
        </p:txBody>
      </p:sp>
      <p:sp>
        <p:nvSpPr>
          <p:cNvPr id="39" name="Rounded Rectangle 24">
            <a:extLst>
              <a:ext uri="{FF2B5EF4-FFF2-40B4-BE49-F238E27FC236}">
                <a16:creationId xmlns:a16="http://schemas.microsoft.com/office/drawing/2014/main" id="{D17741F9-A51C-4331-B7FE-2235167757D0}"/>
              </a:ext>
            </a:extLst>
          </p:cNvPr>
          <p:cNvSpPr/>
          <p:nvPr/>
        </p:nvSpPr>
        <p:spPr bwMode="auto">
          <a:xfrm>
            <a:off x="2876848" y="3794101"/>
            <a:ext cx="2895599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How are orders tracking across products, brands or pack types(single or multipack)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Is there a specific product whose shipments/orders have been consistently dropping?</a:t>
            </a:r>
          </a:p>
        </p:txBody>
      </p:sp>
      <p:sp>
        <p:nvSpPr>
          <p:cNvPr id="38" name="Rounded Rectangle 24">
            <a:extLst>
              <a:ext uri="{FF2B5EF4-FFF2-40B4-BE49-F238E27FC236}">
                <a16:creationId xmlns:a16="http://schemas.microsoft.com/office/drawing/2014/main" id="{946C879E-79AC-40D5-8BAF-737C430A052D}"/>
              </a:ext>
            </a:extLst>
          </p:cNvPr>
          <p:cNvSpPr/>
          <p:nvPr/>
        </p:nvSpPr>
        <p:spPr bwMode="auto">
          <a:xfrm>
            <a:off x="6166664" y="1240285"/>
            <a:ext cx="2421667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GSV, NSV, Volume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TE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Orders – shipped/open/held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Orders for next period</a:t>
            </a:r>
          </a:p>
        </p:txBody>
      </p:sp>
      <p:sp>
        <p:nvSpPr>
          <p:cNvPr id="41" name="Rounded Rectangle 24">
            <a:extLst>
              <a:ext uri="{FF2B5EF4-FFF2-40B4-BE49-F238E27FC236}">
                <a16:creationId xmlns:a16="http://schemas.microsoft.com/office/drawing/2014/main" id="{D1E24124-4024-465A-8E9F-5A99513C61D5}"/>
              </a:ext>
            </a:extLst>
          </p:cNvPr>
          <p:cNvSpPr/>
          <p:nvPr/>
        </p:nvSpPr>
        <p:spPr bwMode="auto">
          <a:xfrm>
            <a:off x="6123005" y="2095056"/>
            <a:ext cx="2427767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685783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Orders – shipped/open/held by account</a:t>
            </a:r>
          </a:p>
          <a:p>
            <a:pPr marL="128585" indent="-128585" defTabSz="685783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Targets/Plan</a:t>
            </a:r>
          </a:p>
        </p:txBody>
      </p:sp>
      <p:sp>
        <p:nvSpPr>
          <p:cNvPr id="44" name="Rounded Rectangle 24">
            <a:extLst>
              <a:ext uri="{FF2B5EF4-FFF2-40B4-BE49-F238E27FC236}">
                <a16:creationId xmlns:a16="http://schemas.microsoft.com/office/drawing/2014/main" id="{C8BA51A1-67E7-4ECC-9E0D-5247A4E33987}"/>
              </a:ext>
            </a:extLst>
          </p:cNvPr>
          <p:cNvSpPr/>
          <p:nvPr/>
        </p:nvSpPr>
        <p:spPr bwMode="auto">
          <a:xfrm>
            <a:off x="6140741" y="2898932"/>
            <a:ext cx="2473570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/>
              </a:rPr>
              <a:t>Orders by SLT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/>
              </a:rPr>
              <a:t>Targets/Plans for last period and previous period</a:t>
            </a:r>
          </a:p>
        </p:txBody>
      </p:sp>
      <p:sp>
        <p:nvSpPr>
          <p:cNvPr id="45" name="Rounded Rectangle 24">
            <a:extLst>
              <a:ext uri="{FF2B5EF4-FFF2-40B4-BE49-F238E27FC236}">
                <a16:creationId xmlns:a16="http://schemas.microsoft.com/office/drawing/2014/main" id="{50F70D51-5DCD-4FD0-957C-410112B8B9F0}"/>
              </a:ext>
            </a:extLst>
          </p:cNvPr>
          <p:cNvSpPr/>
          <p:nvPr/>
        </p:nvSpPr>
        <p:spPr bwMode="auto">
          <a:xfrm>
            <a:off x="6140741" y="3610247"/>
            <a:ext cx="2447590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/>
              </a:rPr>
              <a:t>Orders at product/brand/pack type level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2FEE8FA-97E9-4ED4-BB06-9D269E7B5F18}"/>
              </a:ext>
            </a:extLst>
          </p:cNvPr>
          <p:cNvCxnSpPr>
            <a:cxnSpLocks/>
          </p:cNvCxnSpPr>
          <p:nvPr/>
        </p:nvCxnSpPr>
        <p:spPr>
          <a:xfrm>
            <a:off x="2603230" y="1060094"/>
            <a:ext cx="13562" cy="3374219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98B71DDE-1C02-4C62-B68F-FAA10F1A737B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1890" y="1285265"/>
            <a:ext cx="481560" cy="48156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6F4B53C1-E4C0-44DE-A292-332C1A5A4C38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16037" y="2130889"/>
            <a:ext cx="497413" cy="497413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2A30A47-E367-42B6-A3B1-79499DFA083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53405" y="3022476"/>
            <a:ext cx="423186" cy="438395"/>
          </a:xfrm>
          <a:prstGeom prst="rect">
            <a:avLst/>
          </a:prstGeom>
        </p:spPr>
      </p:pic>
      <p:pic>
        <p:nvPicPr>
          <p:cNvPr id="10242" name="Picture 2" descr="Image result for product icon">
            <a:extLst>
              <a:ext uri="{FF2B5EF4-FFF2-40B4-BE49-F238E27FC236}">
                <a16:creationId xmlns:a16="http://schemas.microsoft.com/office/drawing/2014/main" id="{D56F951B-F2F9-414D-AAF9-81F4992047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020" y="3830924"/>
            <a:ext cx="468696" cy="468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itle 1">
            <a:extLst>
              <a:ext uri="{FF2B5EF4-FFF2-40B4-BE49-F238E27FC236}">
                <a16:creationId xmlns:a16="http://schemas.microsoft.com/office/drawing/2014/main" id="{771F3BA3-240A-4373-9B57-BB48E1A00D58}"/>
              </a:ext>
            </a:extLst>
          </p:cNvPr>
          <p:cNvSpPr txBox="1">
            <a:spLocks/>
          </p:cNvSpPr>
          <p:nvPr/>
        </p:nvSpPr>
        <p:spPr>
          <a:xfrm>
            <a:off x="1291905" y="4492"/>
            <a:ext cx="7835927" cy="545855"/>
          </a:xfrm>
          <a:prstGeom prst="rect">
            <a:avLst/>
          </a:prstGeom>
        </p:spPr>
        <p:txBody>
          <a:bodyPr/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400" dirty="0"/>
              <a:t>Learning from similar projects established across MARS, we believe that DBP needs to be looked at from multiple lenses</a:t>
            </a:r>
          </a:p>
        </p:txBody>
      </p:sp>
    </p:spTree>
    <p:extLst>
      <p:ext uri="{BB962C8B-B14F-4D97-AF65-F5344CB8AC3E}">
        <p14:creationId xmlns:p14="http://schemas.microsoft.com/office/powerpoint/2010/main" val="40864367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D62109-0513-4ED5-99C1-756EFD743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4767264"/>
            <a:ext cx="2895600" cy="273844"/>
          </a:xfrm>
        </p:spPr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Freeform 29">
            <a:extLst>
              <a:ext uri="{FF2B5EF4-FFF2-40B4-BE49-F238E27FC236}">
                <a16:creationId xmlns:a16="http://schemas.microsoft.com/office/drawing/2014/main" id="{3E7DD296-1357-401D-A0FE-0E98FA058BE2}"/>
              </a:ext>
            </a:extLst>
          </p:cNvPr>
          <p:cNvSpPr/>
          <p:nvPr/>
        </p:nvSpPr>
        <p:spPr>
          <a:xfrm>
            <a:off x="827881" y="1189390"/>
            <a:ext cx="1602325" cy="687726"/>
          </a:xfrm>
          <a:custGeom>
            <a:avLst/>
            <a:gdLst>
              <a:gd name="connsiteX0" fmla="*/ 0 w 5210648"/>
              <a:gd name="connsiteY0" fmla="*/ 0 h 916968"/>
              <a:gd name="connsiteX1" fmla="*/ 5210648 w 5210648"/>
              <a:gd name="connsiteY1" fmla="*/ 0 h 916968"/>
              <a:gd name="connsiteX2" fmla="*/ 5210648 w 5210648"/>
              <a:gd name="connsiteY2" fmla="*/ 916968 h 916968"/>
              <a:gd name="connsiteX3" fmla="*/ 0 w 5210648"/>
              <a:gd name="connsiteY3" fmla="*/ 916968 h 916968"/>
              <a:gd name="connsiteX4" fmla="*/ 0 w 5210648"/>
              <a:gd name="connsiteY4" fmla="*/ 0 h 916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10648" h="916968">
                <a:moveTo>
                  <a:pt x="0" y="0"/>
                </a:moveTo>
                <a:lnTo>
                  <a:pt x="5210648" y="0"/>
                </a:lnTo>
                <a:lnTo>
                  <a:pt x="5210648" y="916968"/>
                </a:lnTo>
                <a:lnTo>
                  <a:pt x="0" y="916968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130" tIns="34290" rIns="34290" bIns="34290" numCol="1" spcCol="1270" anchor="ctr" anchorCtr="0">
            <a:noAutofit/>
          </a:bodyPr>
          <a:lstStyle/>
          <a:p>
            <a:pPr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b="1">
                <a:solidFill>
                  <a:srgbClr val="C00000"/>
                </a:solidFill>
                <a:latin typeface="Mars Centra"/>
                <a:ea typeface="Mars Centra" pitchFamily="2" charset="0"/>
              </a:rPr>
              <a:t>Overview</a:t>
            </a:r>
          </a:p>
        </p:txBody>
      </p:sp>
      <p:sp>
        <p:nvSpPr>
          <p:cNvPr id="7" name="Freeform 38">
            <a:extLst>
              <a:ext uri="{FF2B5EF4-FFF2-40B4-BE49-F238E27FC236}">
                <a16:creationId xmlns:a16="http://schemas.microsoft.com/office/drawing/2014/main" id="{1E7FD4A0-6587-44A4-9B32-87BCD40C5A33}"/>
              </a:ext>
            </a:extLst>
          </p:cNvPr>
          <p:cNvSpPr/>
          <p:nvPr/>
        </p:nvSpPr>
        <p:spPr>
          <a:xfrm>
            <a:off x="841550" y="2038272"/>
            <a:ext cx="1306089" cy="687726"/>
          </a:xfrm>
          <a:custGeom>
            <a:avLst/>
            <a:gdLst>
              <a:gd name="connsiteX0" fmla="*/ 0 w 4815668"/>
              <a:gd name="connsiteY0" fmla="*/ 0 h 916968"/>
              <a:gd name="connsiteX1" fmla="*/ 4815668 w 4815668"/>
              <a:gd name="connsiteY1" fmla="*/ 0 h 916968"/>
              <a:gd name="connsiteX2" fmla="*/ 4815668 w 4815668"/>
              <a:gd name="connsiteY2" fmla="*/ 916968 h 916968"/>
              <a:gd name="connsiteX3" fmla="*/ 0 w 4815668"/>
              <a:gd name="connsiteY3" fmla="*/ 916968 h 916968"/>
              <a:gd name="connsiteX4" fmla="*/ 0 w 4815668"/>
              <a:gd name="connsiteY4" fmla="*/ 0 h 916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15668" h="916968">
                <a:moveTo>
                  <a:pt x="0" y="0"/>
                </a:moveTo>
                <a:lnTo>
                  <a:pt x="4815668" y="0"/>
                </a:lnTo>
                <a:lnTo>
                  <a:pt x="4815668" y="916968"/>
                </a:lnTo>
                <a:lnTo>
                  <a:pt x="0" y="916968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130" tIns="34290" rIns="34290" bIns="34290" numCol="1" spcCol="1270" anchor="ctr" anchorCtr="0">
            <a:noAutofit/>
          </a:bodyPr>
          <a:lstStyle/>
          <a:p>
            <a:pPr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b="1">
                <a:solidFill>
                  <a:srgbClr val="C00000"/>
                </a:solidFill>
                <a:latin typeface="Mars Centra"/>
              </a:rPr>
              <a:t>Channel</a:t>
            </a:r>
          </a:p>
        </p:txBody>
      </p:sp>
      <p:sp>
        <p:nvSpPr>
          <p:cNvPr id="8" name="Freeform 40">
            <a:extLst>
              <a:ext uri="{FF2B5EF4-FFF2-40B4-BE49-F238E27FC236}">
                <a16:creationId xmlns:a16="http://schemas.microsoft.com/office/drawing/2014/main" id="{5BDC9BA1-9D26-4623-A597-A417E9404DAE}"/>
              </a:ext>
            </a:extLst>
          </p:cNvPr>
          <p:cNvSpPr/>
          <p:nvPr/>
        </p:nvSpPr>
        <p:spPr>
          <a:xfrm>
            <a:off x="827881" y="2898932"/>
            <a:ext cx="1306088" cy="687726"/>
          </a:xfrm>
          <a:custGeom>
            <a:avLst/>
            <a:gdLst>
              <a:gd name="connsiteX0" fmla="*/ 0 w 4815668"/>
              <a:gd name="connsiteY0" fmla="*/ 0 h 916968"/>
              <a:gd name="connsiteX1" fmla="*/ 4815668 w 4815668"/>
              <a:gd name="connsiteY1" fmla="*/ 0 h 916968"/>
              <a:gd name="connsiteX2" fmla="*/ 4815668 w 4815668"/>
              <a:gd name="connsiteY2" fmla="*/ 916968 h 916968"/>
              <a:gd name="connsiteX3" fmla="*/ 0 w 4815668"/>
              <a:gd name="connsiteY3" fmla="*/ 916968 h 916968"/>
              <a:gd name="connsiteX4" fmla="*/ 0 w 4815668"/>
              <a:gd name="connsiteY4" fmla="*/ 0 h 916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15668" h="916968">
                <a:moveTo>
                  <a:pt x="0" y="0"/>
                </a:moveTo>
                <a:lnTo>
                  <a:pt x="4815668" y="0"/>
                </a:lnTo>
                <a:lnTo>
                  <a:pt x="4815668" y="916968"/>
                </a:lnTo>
                <a:lnTo>
                  <a:pt x="0" y="916968"/>
                </a:lnTo>
                <a:lnTo>
                  <a:pt x="0" y="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10130" tIns="34290" rIns="34290" bIns="34290" numCol="1" spcCol="1270" anchor="ctr" anchorCtr="0">
            <a:noAutofit/>
          </a:bodyPr>
          <a:lstStyle/>
          <a:p>
            <a:pPr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b="1">
                <a:solidFill>
                  <a:srgbClr val="C00000"/>
                </a:solidFill>
                <a:latin typeface="Mars Centra"/>
              </a:rPr>
              <a:t>Customer/</a:t>
            </a:r>
          </a:p>
          <a:p>
            <a:pPr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b="1">
                <a:solidFill>
                  <a:srgbClr val="C00000"/>
                </a:solidFill>
                <a:latin typeface="Mars Centra"/>
              </a:rPr>
              <a:t>Accou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26A5C2-0BCE-4697-B080-E7AEED9ED097}"/>
              </a:ext>
            </a:extLst>
          </p:cNvPr>
          <p:cNvSpPr/>
          <p:nvPr/>
        </p:nvSpPr>
        <p:spPr bwMode="auto">
          <a:xfrm>
            <a:off x="1182523" y="3933656"/>
            <a:ext cx="1192911" cy="38688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000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350" b="1">
                <a:solidFill>
                  <a:srgbClr val="C00000"/>
                </a:solidFill>
                <a:latin typeface="Mars Centra"/>
              </a:rPr>
              <a:t>Cost Head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D5B6A48-CE0C-49F5-8DA1-642A93480905}"/>
              </a:ext>
            </a:extLst>
          </p:cNvPr>
          <p:cNvSpPr/>
          <p:nvPr/>
        </p:nvSpPr>
        <p:spPr>
          <a:xfrm>
            <a:off x="397685" y="1178023"/>
            <a:ext cx="710461" cy="710461"/>
          </a:xfrm>
          <a:prstGeom prst="ellipse">
            <a:avLst/>
          </a:prstGeom>
          <a:solidFill>
            <a:schemeClr val="bg1"/>
          </a:solidFill>
          <a:ln w="38100">
            <a:solidFill>
              <a:srgbClr val="7F7F7F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D2E00FB-E79C-4D3A-99CA-FA05E205F0C0}"/>
              </a:ext>
            </a:extLst>
          </p:cNvPr>
          <p:cNvSpPr/>
          <p:nvPr/>
        </p:nvSpPr>
        <p:spPr>
          <a:xfrm>
            <a:off x="397685" y="2032794"/>
            <a:ext cx="710461" cy="710461"/>
          </a:xfrm>
          <a:prstGeom prst="ellipse">
            <a:avLst/>
          </a:prstGeom>
          <a:solidFill>
            <a:schemeClr val="bg1"/>
          </a:solidFill>
          <a:ln w="38100">
            <a:solidFill>
              <a:srgbClr val="7F7F7F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8EEF158-EFF8-4571-A3A3-408A0B4A991C}"/>
              </a:ext>
            </a:extLst>
          </p:cNvPr>
          <p:cNvSpPr/>
          <p:nvPr/>
        </p:nvSpPr>
        <p:spPr>
          <a:xfrm>
            <a:off x="397685" y="2887565"/>
            <a:ext cx="710461" cy="710461"/>
          </a:xfrm>
          <a:prstGeom prst="ellipse">
            <a:avLst/>
          </a:prstGeom>
          <a:solidFill>
            <a:schemeClr val="bg1"/>
          </a:solidFill>
          <a:ln w="38100">
            <a:solidFill>
              <a:srgbClr val="7F7F7F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96D746B-9DDF-485B-901F-74D70E15F37E}"/>
              </a:ext>
            </a:extLst>
          </p:cNvPr>
          <p:cNvSpPr/>
          <p:nvPr/>
        </p:nvSpPr>
        <p:spPr>
          <a:xfrm>
            <a:off x="429978" y="3742336"/>
            <a:ext cx="645873" cy="645873"/>
          </a:xfrm>
          <a:prstGeom prst="ellipse">
            <a:avLst/>
          </a:prstGeom>
          <a:solidFill>
            <a:schemeClr val="bg1"/>
          </a:solidFill>
          <a:ln w="38100">
            <a:solidFill>
              <a:srgbClr val="7F7F7F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145B22C-815F-4872-A901-712E77A2EF3F}"/>
              </a:ext>
            </a:extLst>
          </p:cNvPr>
          <p:cNvCxnSpPr>
            <a:cxnSpLocks/>
          </p:cNvCxnSpPr>
          <p:nvPr/>
        </p:nvCxnSpPr>
        <p:spPr>
          <a:xfrm>
            <a:off x="5873572" y="1055872"/>
            <a:ext cx="13562" cy="3374219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4A69754-D5A6-4EE4-AD2A-65378036220E}"/>
              </a:ext>
            </a:extLst>
          </p:cNvPr>
          <p:cNvSpPr txBox="1"/>
          <p:nvPr/>
        </p:nvSpPr>
        <p:spPr>
          <a:xfrm>
            <a:off x="3879649" y="646139"/>
            <a:ext cx="1082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US" sz="1200" b="1">
                <a:solidFill>
                  <a:srgbClr val="C00000"/>
                </a:solidFill>
                <a:latin typeface="Calibri Light"/>
              </a:rPr>
              <a:t>Business Questions</a:t>
            </a:r>
          </a:p>
        </p:txBody>
      </p:sp>
      <p:sp>
        <p:nvSpPr>
          <p:cNvPr id="26" name="Rounded Rectangle 24">
            <a:extLst>
              <a:ext uri="{FF2B5EF4-FFF2-40B4-BE49-F238E27FC236}">
                <a16:creationId xmlns:a16="http://schemas.microsoft.com/office/drawing/2014/main" id="{D799DF25-6D28-43C0-A987-4CF8AD1802DE}"/>
              </a:ext>
            </a:extLst>
          </p:cNvPr>
          <p:cNvSpPr/>
          <p:nvPr/>
        </p:nvSpPr>
        <p:spPr bwMode="auto">
          <a:xfrm>
            <a:off x="2914232" y="1199361"/>
            <a:ext cx="2911333" cy="950444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How are my basic financial health metrics like GSV, NSV, Trade Expenditure, COGS and operating profit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How are we tracking against the yearly plans and latest estimates for these health metrics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Are there any increasing cost heads that need looking into?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FCDDC9B-B7BB-4647-B4E7-F1C08DA8158C}"/>
              </a:ext>
            </a:extLst>
          </p:cNvPr>
          <p:cNvSpPr txBox="1"/>
          <p:nvPr/>
        </p:nvSpPr>
        <p:spPr>
          <a:xfrm>
            <a:off x="7147810" y="658901"/>
            <a:ext cx="10821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US" sz="1200" b="1">
                <a:solidFill>
                  <a:srgbClr val="C00000"/>
                </a:solidFill>
                <a:latin typeface="Calibri Light"/>
              </a:rPr>
              <a:t>Metric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D7ADB34-9CB3-4C5F-AAAB-2DF161BD29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948" y="641320"/>
            <a:ext cx="403087" cy="40308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EC7B5BE-00CC-4488-9963-530BE33BA0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485" y="614812"/>
            <a:ext cx="418008" cy="418008"/>
          </a:xfrm>
          <a:prstGeom prst="rect">
            <a:avLst/>
          </a:prstGeom>
        </p:spPr>
      </p:pic>
      <p:sp>
        <p:nvSpPr>
          <p:cNvPr id="34" name="Rounded Rectangle 24">
            <a:extLst>
              <a:ext uri="{FF2B5EF4-FFF2-40B4-BE49-F238E27FC236}">
                <a16:creationId xmlns:a16="http://schemas.microsoft.com/office/drawing/2014/main" id="{C7E3F674-48FB-4C8F-80E3-3942196AE08F}"/>
              </a:ext>
            </a:extLst>
          </p:cNvPr>
          <p:cNvSpPr/>
          <p:nvPr/>
        </p:nvSpPr>
        <p:spPr bwMode="auto">
          <a:xfrm>
            <a:off x="2914232" y="2166165"/>
            <a:ext cx="2800666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 panose="020B0502040204020203" pitchFamily="34" charset="0"/>
                <a:cs typeface="Segoe UI" panose="020B0502040204020203" pitchFamily="34" charset="0"/>
              </a:rPr>
              <a:t>Which channels are driving highest positive and negative growth in NSV values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 panose="020B0502040204020203" pitchFamily="34" charset="0"/>
                <a:cs typeface="Segoe UI" panose="020B0502040204020203" pitchFamily="34" charset="0"/>
              </a:rPr>
              <a:t>At a channel level, how close are we to the yearly and latest estimate plans?</a:t>
            </a:r>
            <a:endParaRPr lang="en-US" sz="800" kern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Rounded Rectangle 24">
            <a:extLst>
              <a:ext uri="{FF2B5EF4-FFF2-40B4-BE49-F238E27FC236}">
                <a16:creationId xmlns:a16="http://schemas.microsoft.com/office/drawing/2014/main" id="{1FAEE1B5-53FB-4D88-99F7-E7FB54055A47}"/>
              </a:ext>
            </a:extLst>
          </p:cNvPr>
          <p:cNvSpPr/>
          <p:nvPr/>
        </p:nvSpPr>
        <p:spPr bwMode="auto">
          <a:xfrm>
            <a:off x="2914233" y="3022477"/>
            <a:ext cx="2800666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How is my trade expenditure and NSV across accounts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Which accounts are over the planned trade expenditure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For which accounts has my trade expenditure increased the most compared to historical patterns? </a:t>
            </a:r>
          </a:p>
        </p:txBody>
      </p:sp>
      <p:sp>
        <p:nvSpPr>
          <p:cNvPr id="39" name="Rounded Rectangle 24">
            <a:extLst>
              <a:ext uri="{FF2B5EF4-FFF2-40B4-BE49-F238E27FC236}">
                <a16:creationId xmlns:a16="http://schemas.microsoft.com/office/drawing/2014/main" id="{D17741F9-A51C-4331-B7FE-2235167757D0}"/>
              </a:ext>
            </a:extLst>
          </p:cNvPr>
          <p:cNvSpPr/>
          <p:nvPr/>
        </p:nvSpPr>
        <p:spPr bwMode="auto">
          <a:xfrm>
            <a:off x="2876848" y="3794101"/>
            <a:ext cx="2895599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How are my expenses under different heads tracking across periods and with respect to planned values?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Is there any specific cost head that’s increasing or decreasing consistently and needs looking into?</a:t>
            </a:r>
          </a:p>
        </p:txBody>
      </p:sp>
      <p:sp>
        <p:nvSpPr>
          <p:cNvPr id="38" name="Rounded Rectangle 24">
            <a:extLst>
              <a:ext uri="{FF2B5EF4-FFF2-40B4-BE49-F238E27FC236}">
                <a16:creationId xmlns:a16="http://schemas.microsoft.com/office/drawing/2014/main" id="{946C879E-79AC-40D5-8BAF-737C430A052D}"/>
              </a:ext>
            </a:extLst>
          </p:cNvPr>
          <p:cNvSpPr/>
          <p:nvPr/>
        </p:nvSpPr>
        <p:spPr bwMode="auto">
          <a:xfrm>
            <a:off x="6166664" y="1240285"/>
            <a:ext cx="2421667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GSV, NSV, Trade Expenditure 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COGS and Operating Profit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Year plan and Latest Estimates </a:t>
            </a:r>
          </a:p>
        </p:txBody>
      </p:sp>
      <p:sp>
        <p:nvSpPr>
          <p:cNvPr id="41" name="Rounded Rectangle 24">
            <a:extLst>
              <a:ext uri="{FF2B5EF4-FFF2-40B4-BE49-F238E27FC236}">
                <a16:creationId xmlns:a16="http://schemas.microsoft.com/office/drawing/2014/main" id="{D1E24124-4024-465A-8E9F-5A99513C61D5}"/>
              </a:ext>
            </a:extLst>
          </p:cNvPr>
          <p:cNvSpPr/>
          <p:nvPr/>
        </p:nvSpPr>
        <p:spPr bwMode="auto">
          <a:xfrm>
            <a:off x="6123005" y="2029608"/>
            <a:ext cx="2427767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685783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NSV by channel</a:t>
            </a:r>
          </a:p>
          <a:p>
            <a:pPr marL="128585" indent="-128585" defTabSz="685783">
              <a:buFont typeface="Webdings" pitchFamily="18" charset="2"/>
              <a:buChar char="4"/>
              <a:defRPr/>
            </a:pPr>
            <a:r>
              <a:rPr lang="en-US" sz="800" kern="0">
                <a:latin typeface="Segoe UI" panose="020B0502040204020203" pitchFamily="34" charset="0"/>
                <a:cs typeface="Segoe UI" panose="020B0502040204020203" pitchFamily="34" charset="0"/>
              </a:rPr>
              <a:t>Year plan and Latest estimates by channel</a:t>
            </a:r>
          </a:p>
        </p:txBody>
      </p:sp>
      <p:sp>
        <p:nvSpPr>
          <p:cNvPr id="44" name="Rounded Rectangle 24">
            <a:extLst>
              <a:ext uri="{FF2B5EF4-FFF2-40B4-BE49-F238E27FC236}">
                <a16:creationId xmlns:a16="http://schemas.microsoft.com/office/drawing/2014/main" id="{C8BA51A1-67E7-4ECC-9E0D-5247A4E33987}"/>
              </a:ext>
            </a:extLst>
          </p:cNvPr>
          <p:cNvSpPr/>
          <p:nvPr/>
        </p:nvSpPr>
        <p:spPr bwMode="auto">
          <a:xfrm>
            <a:off x="6140741" y="2898932"/>
            <a:ext cx="2473570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/>
              </a:rPr>
              <a:t>GSV, NSV and TE at an account level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US" sz="800" kern="0">
                <a:latin typeface="Segoe UI"/>
              </a:rPr>
              <a:t>Targets/Plans for last period and previous period</a:t>
            </a:r>
          </a:p>
        </p:txBody>
      </p:sp>
      <p:sp>
        <p:nvSpPr>
          <p:cNvPr id="45" name="Rounded Rectangle 24">
            <a:extLst>
              <a:ext uri="{FF2B5EF4-FFF2-40B4-BE49-F238E27FC236}">
                <a16:creationId xmlns:a16="http://schemas.microsoft.com/office/drawing/2014/main" id="{50F70D51-5DCD-4FD0-957C-410112B8B9F0}"/>
              </a:ext>
            </a:extLst>
          </p:cNvPr>
          <p:cNvSpPr/>
          <p:nvPr/>
        </p:nvSpPr>
        <p:spPr bwMode="auto">
          <a:xfrm>
            <a:off x="6140741" y="3729732"/>
            <a:ext cx="2447590" cy="585935"/>
          </a:xfrm>
          <a:prstGeom prst="round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$ costs under each cost head for all customers and channels</a:t>
            </a:r>
          </a:p>
          <a:p>
            <a:pPr marL="128585" indent="-128585" defTabSz="457189">
              <a:buFont typeface="Webdings" pitchFamily="18" charset="2"/>
              <a:buChar char="4"/>
              <a:defRPr/>
            </a:pPr>
            <a:r>
              <a:rPr lang="en-IN" sz="800" kern="0">
                <a:latin typeface="Segoe UI"/>
              </a:rPr>
              <a:t>Targets/Plans under each cost head</a:t>
            </a:r>
            <a:endParaRPr lang="en-US" sz="800" kern="0">
              <a:latin typeface="Segoe UI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2FEE8FA-97E9-4ED4-BB06-9D269E7B5F18}"/>
              </a:ext>
            </a:extLst>
          </p:cNvPr>
          <p:cNvCxnSpPr>
            <a:cxnSpLocks/>
          </p:cNvCxnSpPr>
          <p:nvPr/>
        </p:nvCxnSpPr>
        <p:spPr>
          <a:xfrm>
            <a:off x="2603230" y="1060094"/>
            <a:ext cx="13562" cy="3374219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itle 1">
            <a:extLst>
              <a:ext uri="{FF2B5EF4-FFF2-40B4-BE49-F238E27FC236}">
                <a16:creationId xmlns:a16="http://schemas.microsoft.com/office/drawing/2014/main" id="{771F3BA3-240A-4373-9B57-BB48E1A00D58}"/>
              </a:ext>
            </a:extLst>
          </p:cNvPr>
          <p:cNvSpPr txBox="1">
            <a:spLocks/>
          </p:cNvSpPr>
          <p:nvPr/>
        </p:nvSpPr>
        <p:spPr>
          <a:xfrm>
            <a:off x="1291905" y="4492"/>
            <a:ext cx="7835927" cy="545855"/>
          </a:xfrm>
          <a:prstGeom prst="rect">
            <a:avLst/>
          </a:prstGeom>
        </p:spPr>
        <p:txBody>
          <a:bodyPr/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sz="1400" dirty="0"/>
              <a:t>Building a Customer Profit and Loss reporting solution requires us to view it through four major lenses</a:t>
            </a:r>
          </a:p>
        </p:txBody>
      </p:sp>
      <p:pic>
        <p:nvPicPr>
          <p:cNvPr id="3" name="Graphic 2" descr="Projector screen">
            <a:extLst>
              <a:ext uri="{FF2B5EF4-FFF2-40B4-BE49-F238E27FC236}">
                <a16:creationId xmlns:a16="http://schemas.microsoft.com/office/drawing/2014/main" id="{A2F646DE-8A19-414C-A34A-387C5656DE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5621" y="1286556"/>
            <a:ext cx="521752" cy="521752"/>
          </a:xfrm>
          <a:prstGeom prst="rect">
            <a:avLst/>
          </a:prstGeom>
        </p:spPr>
      </p:pic>
      <p:pic>
        <p:nvPicPr>
          <p:cNvPr id="19" name="Graphic 18" descr="User network">
            <a:extLst>
              <a:ext uri="{FF2B5EF4-FFF2-40B4-BE49-F238E27FC236}">
                <a16:creationId xmlns:a16="http://schemas.microsoft.com/office/drawing/2014/main" id="{BFDBDDA3-F778-4363-8DEC-F5EBCE84DB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3766" y="2117245"/>
            <a:ext cx="550977" cy="550977"/>
          </a:xfrm>
          <a:prstGeom prst="rect">
            <a:avLst/>
          </a:prstGeom>
        </p:spPr>
      </p:pic>
      <p:pic>
        <p:nvPicPr>
          <p:cNvPr id="23" name="Graphic 22" descr="Coins">
            <a:extLst>
              <a:ext uri="{FF2B5EF4-FFF2-40B4-BE49-F238E27FC236}">
                <a16:creationId xmlns:a16="http://schemas.microsoft.com/office/drawing/2014/main" id="{5A967340-0477-4DF0-ADCC-A4F6BF21D8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7715" y="3806847"/>
            <a:ext cx="493452" cy="493452"/>
          </a:xfrm>
          <a:prstGeom prst="rect">
            <a:avLst/>
          </a:prstGeom>
        </p:spPr>
      </p:pic>
      <p:pic>
        <p:nvPicPr>
          <p:cNvPr id="29" name="Graphic 28" descr="Bank">
            <a:extLst>
              <a:ext uri="{FF2B5EF4-FFF2-40B4-BE49-F238E27FC236}">
                <a16:creationId xmlns:a16="http://schemas.microsoft.com/office/drawing/2014/main" id="{B391F7D6-3AF0-45E4-80D8-1A183AAC82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5568" y="2901044"/>
            <a:ext cx="607276" cy="607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0024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00159-48D9-440C-B073-3D89A65C6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2976" y="2446573"/>
            <a:ext cx="8229600" cy="2166127"/>
          </a:xfrm>
        </p:spPr>
        <p:txBody>
          <a:bodyPr/>
          <a:lstStyle/>
          <a:p>
            <a:r>
              <a:rPr lang="en-US" sz="4000"/>
              <a:t>Thank You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60F48F-CD4B-4E33-967B-6DFE3C1E3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000000"/>
                </a:solidFill>
                <a:latin typeface="Calibri"/>
              </a:rPr>
              <a:t>confidential – for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B17443-64CF-48E9-972B-800E9AD14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189"/>
            <a:fld id="{83797F01-82BB-8844-8F2A-5D1FFD52C14D}" type="slidenum">
              <a:rPr lang="en-US">
                <a:solidFill>
                  <a:srgbClr val="000000"/>
                </a:solidFill>
              </a:rPr>
              <a:pPr defTabSz="457189"/>
              <a:t>6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508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7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96392448-FAD1-4ADA-ACB5-90C65B449108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2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641902DF-5612-4B78-8320-12612C75F0AF}"/>
    </a:ext>
  </a:extLst>
</a:theme>
</file>

<file path=ppt/theme/theme3.xml><?xml version="1.0" encoding="utf-8"?>
<a:theme xmlns:a="http://schemas.openxmlformats.org/drawingml/2006/main" name="10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8B6F6C99-60BF-4E1B-94C8-9C6F34C6EEB6}"/>
    </a:ext>
  </a:extLst>
</a:theme>
</file>

<file path=ppt/theme/theme4.xml><?xml version="1.0" encoding="utf-8"?>
<a:theme xmlns:a="http://schemas.openxmlformats.org/drawingml/2006/main" name="9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4208FA56-C162-4ED7-806D-C7757882F844}"/>
    </a:ext>
  </a:extLst>
</a:theme>
</file>

<file path=ppt/theme/theme5.xml><?xml version="1.0" encoding="utf-8"?>
<a:theme xmlns:a="http://schemas.openxmlformats.org/drawingml/2006/main" name="8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6C0F2F8B-B8AA-42F0-9A6F-C4C2503186F4}"/>
    </a:ext>
  </a:extLst>
</a:theme>
</file>

<file path=ppt/theme/theme6.xml><?xml version="1.0" encoding="utf-8"?>
<a:theme xmlns:a="http://schemas.openxmlformats.org/drawingml/2006/main" name="11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Mars Inc.">
      <a:majorFont>
        <a:latin typeface="Marsfont"/>
        <a:ea typeface=""/>
        <a:cs typeface=""/>
      </a:majorFont>
      <a:minorFont>
        <a:latin typeface="Marsfont"/>
        <a:ea typeface=""/>
        <a:cs typeface="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NEW MINC 16x9 template_final.pptx" id="{2BAF0608-E3E6-42FB-A8A4-8DB3AD7B7C3C}" vid="{D7396624-89F4-48B0-9FAE-0D75D426C200}"/>
    </a:ext>
  </a:extLst>
</a:theme>
</file>

<file path=ppt/theme/theme7.xml><?xml version="1.0" encoding="utf-8"?>
<a:theme xmlns:a="http://schemas.openxmlformats.org/drawingml/2006/main" name="1_Custom Design">
  <a:themeElements>
    <a:clrScheme name="0_New them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237DB9"/>
      </a:accent1>
      <a:accent2>
        <a:srgbClr val="15AA96"/>
      </a:accent2>
      <a:accent3>
        <a:srgbClr val="9BB955"/>
      </a:accent3>
      <a:accent4>
        <a:srgbClr val="F19B14"/>
      </a:accent4>
      <a:accent5>
        <a:srgbClr val="BE382C"/>
      </a:accent5>
      <a:accent6>
        <a:srgbClr val="633247"/>
      </a:accent6>
      <a:hlink>
        <a:srgbClr val="FFFFFF"/>
      </a:hlink>
      <a:folHlink>
        <a:srgbClr val="595959"/>
      </a:folHlink>
    </a:clrScheme>
    <a:fontScheme name="Roboto">
      <a:majorFont>
        <a:latin typeface="Roboto Medium"/>
        <a:ea typeface=""/>
        <a:cs typeface="FontAwesome"/>
      </a:majorFont>
      <a:minorFont>
        <a:latin typeface="Roboto Condensed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>
          <a:noFill/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</a:objectDefaults>
  <a:extraClrSchemeLst/>
</a:theme>
</file>

<file path=ppt/theme/theme8.xml><?xml version="1.0" encoding="utf-8"?>
<a:theme xmlns:a="http://schemas.openxmlformats.org/drawingml/2006/main" name="6_KIND theme">
  <a:themeElements>
    <a:clrScheme name="KIN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AB00"/>
      </a:accent1>
      <a:accent2>
        <a:srgbClr val="EE351A"/>
      </a:accent2>
      <a:accent3>
        <a:srgbClr val="A8B400"/>
      </a:accent3>
      <a:accent4>
        <a:srgbClr val="5EB6E4"/>
      </a:accent4>
      <a:accent5>
        <a:srgbClr val="EAAB00"/>
      </a:accent5>
      <a:accent6>
        <a:srgbClr val="EE351A"/>
      </a:accent6>
      <a:hlink>
        <a:srgbClr val="EAAB00"/>
      </a:hlink>
      <a:folHlink>
        <a:srgbClr val="EAAB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IND theme" id="{BC949082-C1FF-4937-932F-FA011B7E89FD}" vid="{10DEA8C4-3DAA-4ACC-82DC-91A0ABC33A12}"/>
    </a:ext>
  </a:extLst>
</a:theme>
</file>

<file path=ppt/theme/theme9.xml><?xml version="1.0" encoding="utf-8"?>
<a:theme xmlns:a="http://schemas.openxmlformats.org/drawingml/2006/main" name="13_Mars_Template_WaterMark_Internal 2012-080712-CCv2">
  <a:themeElements>
    <a:clrScheme name="Custom 26">
      <a:dk1>
        <a:srgbClr val="000000"/>
      </a:dk1>
      <a:lt1>
        <a:srgbClr val="FFFFFF"/>
      </a:lt1>
      <a:dk2>
        <a:srgbClr val="BED700"/>
      </a:dk2>
      <a:lt2>
        <a:srgbClr val="C81E2D"/>
      </a:lt2>
      <a:accent1>
        <a:srgbClr val="002C5C"/>
      </a:accent1>
      <a:accent2>
        <a:srgbClr val="00AAE6"/>
      </a:accent2>
      <a:accent3>
        <a:srgbClr val="5A1E64"/>
      </a:accent3>
      <a:accent4>
        <a:srgbClr val="C80082"/>
      </a:accent4>
      <a:accent5>
        <a:srgbClr val="69AF28"/>
      </a:accent5>
      <a:accent6>
        <a:srgbClr val="FF6E00"/>
      </a:accent6>
      <a:hlink>
        <a:srgbClr val="000000"/>
      </a:hlink>
      <a:folHlink>
        <a:srgbClr val="249CCC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ct val="80000"/>
          </a:lnSpc>
          <a:defRPr dirty="0">
            <a:latin typeface="Calibri" panose="020F050202020403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Presentation1" id="{E8F6D4A8-F474-428C-8287-3FB773BAED4A}" vid="{4313D244-B52C-4610-A331-237824760BBB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3867935-9751-4FAE-83B0-6FDE43DA7E82}">
  <we:reference id="wa104038830" version="1.0.0.3" store="en-US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238261E73C88439BB98AF91E7C8BB9" ma:contentTypeVersion="12" ma:contentTypeDescription="Create a new document." ma:contentTypeScope="" ma:versionID="ce24275585ad6faa1994631f599f0ad0">
  <xsd:schema xmlns:xsd="http://www.w3.org/2001/XMLSchema" xmlns:xs="http://www.w3.org/2001/XMLSchema" xmlns:p="http://schemas.microsoft.com/office/2006/metadata/properties" xmlns:ns2="df96cac6-5edc-4d96-a14f-21dec8cebb64" xmlns:ns3="e6f9aa0a-a4db-4c69-b1fa-f7c559ce6762" targetNamespace="http://schemas.microsoft.com/office/2006/metadata/properties" ma:root="true" ma:fieldsID="e48c4e51891a7ad7a9848e84a11e2199" ns2:_="" ns3:_="">
    <xsd:import namespace="df96cac6-5edc-4d96-a14f-21dec8cebb64"/>
    <xsd:import namespace="e6f9aa0a-a4db-4c69-b1fa-f7c559ce67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96cac6-5edc-4d96-a14f-21dec8cebb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f9aa0a-a4db-4c69-b1fa-f7c559ce676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11CDA2-C26B-4F1E-A80B-1B70D8FFA69B}">
  <ds:schemaRefs>
    <ds:schemaRef ds:uri="e6f9aa0a-a4db-4c69-b1fa-f7c559ce6762"/>
    <ds:schemaRef ds:uri="http://purl.org/dc/terms/"/>
    <ds:schemaRef ds:uri="http://purl.org/dc/dcmitype/"/>
    <ds:schemaRef ds:uri="http://purl.org/dc/elements/1.1/"/>
    <ds:schemaRef ds:uri="http://schemas.microsoft.com/office/2006/documentManagement/types"/>
    <ds:schemaRef ds:uri="df96cac6-5edc-4d96-a14f-21dec8cebb64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D0BAE5B-35FF-4892-BDA6-C8924A386968}"/>
</file>

<file path=customXml/itemProps3.xml><?xml version="1.0" encoding="utf-8"?>
<ds:datastoreItem xmlns:ds="http://schemas.openxmlformats.org/officeDocument/2006/customXml" ds:itemID="{E04F9874-03EE-4CFA-8F36-20C13BEFED4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rs Inc Global 16x9</Template>
  <TotalTime>0</TotalTime>
  <Words>671</Words>
  <Application>Microsoft Office PowerPoint</Application>
  <PresentationFormat>On-screen Show (16:9)</PresentationFormat>
  <Paragraphs>9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31" baseType="lpstr">
      <vt:lpstr>Arial</vt:lpstr>
      <vt:lpstr>Calibri</vt:lpstr>
      <vt:lpstr>Calibri Light</vt:lpstr>
      <vt:lpstr>Century Gothic</vt:lpstr>
      <vt:lpstr>FontAwesome</vt:lpstr>
      <vt:lpstr>Georgia</vt:lpstr>
      <vt:lpstr>Helvetica</vt:lpstr>
      <vt:lpstr>Mars Centra</vt:lpstr>
      <vt:lpstr>Marsfont</vt:lpstr>
      <vt:lpstr>Roboto Condensed</vt:lpstr>
      <vt:lpstr>Roboto Medium</vt:lpstr>
      <vt:lpstr>Segoe UI</vt:lpstr>
      <vt:lpstr>Verdana</vt:lpstr>
      <vt:lpstr>Webdings</vt:lpstr>
      <vt:lpstr>Wingdings</vt:lpstr>
      <vt:lpstr>7_Mars_Template_WaterMark_Internal 2012-080712-CCv2</vt:lpstr>
      <vt:lpstr>12_Mars_Template_WaterMark_Internal 2012-080712-CCv2</vt:lpstr>
      <vt:lpstr>10_Mars_Template_WaterMark_Internal 2012-080712-CCv2</vt:lpstr>
      <vt:lpstr>9_Mars_Template_WaterMark_Internal 2012-080712-CCv2</vt:lpstr>
      <vt:lpstr>8_Mars_Template_WaterMark_Internal 2012-080712-CCv2</vt:lpstr>
      <vt:lpstr>11_Mars_Template_WaterMark_Internal 2012-080712-CCv2</vt:lpstr>
      <vt:lpstr>1_Custom Design</vt:lpstr>
      <vt:lpstr>6_KIND theme</vt:lpstr>
      <vt:lpstr>13_Mars_Template_WaterMark_Internal 2012-080712-CCv2</vt:lpstr>
      <vt:lpstr>think-cell Slide</vt:lpstr>
      <vt:lpstr>KIND 360 UK DBP and P&amp;L – Design Thinking</vt:lpstr>
      <vt:lpstr>Agenda</vt:lpstr>
      <vt:lpstr>PowerPoint Presentation</vt:lpstr>
      <vt:lpstr>PowerPoint Presentation</vt:lpstr>
      <vt:lpstr>PowerPoint Presentation</vt:lpstr>
      <vt:lpstr>Thank You </vt:lpstr>
    </vt:vector>
  </TitlesOfParts>
  <Company>Mars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 Estimator Project -RFP</dc:title>
  <dc:creator>Martinez Davila, Luis</dc:creator>
  <cp:lastModifiedBy>Deepak NC</cp:lastModifiedBy>
  <cp:revision>1</cp:revision>
  <dcterms:created xsi:type="dcterms:W3CDTF">2018-03-15T08:35:15Z</dcterms:created>
  <dcterms:modified xsi:type="dcterms:W3CDTF">2019-11-25T15:1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238261E73C88439BB98AF91E7C8BB9</vt:lpwstr>
  </property>
  <property fmtid="{D5CDD505-2E9C-101B-9397-08002B2CF9AE}" pid="3" name="AuthorIds_UIVersion_4096">
    <vt:lpwstr>59</vt:lpwstr>
  </property>
  <property fmtid="{D5CDD505-2E9C-101B-9397-08002B2CF9AE}" pid="4" name="AuthorIds_UIVersion_6656">
    <vt:lpwstr>59</vt:lpwstr>
  </property>
</Properties>
</file>